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94" r:id="rId5"/>
    <p:sldMasterId id="2147483814" r:id="rId6"/>
    <p:sldMasterId id="2147483854" r:id="rId7"/>
  </p:sldMasterIdLst>
  <p:notesMasterIdLst>
    <p:notesMasterId r:id="rId18"/>
  </p:notesMasterIdLst>
  <p:handoutMasterIdLst>
    <p:handoutMasterId r:id="rId19"/>
  </p:handoutMasterIdLst>
  <p:sldIdLst>
    <p:sldId id="382" r:id="rId8"/>
    <p:sldId id="991" r:id="rId9"/>
    <p:sldId id="427" r:id="rId10"/>
    <p:sldId id="412" r:id="rId11"/>
    <p:sldId id="990" r:id="rId12"/>
    <p:sldId id="993" r:id="rId13"/>
    <p:sldId id="992" r:id="rId14"/>
    <p:sldId id="417" r:id="rId15"/>
    <p:sldId id="1000" r:id="rId16"/>
    <p:sldId id="411" r:id="rId17"/>
  </p:sldIdLst>
  <p:sldSz cx="12192000" cy="6858000"/>
  <p:notesSz cx="7315200" cy="12344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97A115-336C-CC50-2E4C-4E1CB16D61C6}" name="Kashare,Jon" initials="K" userId="S::Jonathan.Kashare@gartner.com::74f39ba4-db06-47e0-b140-5ad7eb8104b1" providerId="AD"/>
  <p188:author id="{1A56E02E-F532-81F7-FD94-3FCE4104A923}" name="Anthony,Krysta" initials="A" userId="S::Krysta.Anthony@gartner.com::9244f7b8-c8dd-42c9-82f4-0cc36500d639" providerId="AD"/>
  <p188:author id="{9A73AF71-66E5-B932-252D-4614B2FA3019}" name="Siegel,Joe" initials="Si" userId="S::joe.siegel@gartner.com::e55226d7-dd29-4b35-bde5-e5c3ebff8b15" providerId="AD"/>
  <p188:author id="{B6D91A7E-042C-A350-BE01-0704C396F672}" name="Cohen,Maydad" initials="C" userId="S::Maydad.Cohen@gartner.com::f9bb5adc-be12-4e3b-a5bd-c202053f41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1B3CA"/>
    <a:srgbClr val="D0DEEA"/>
    <a:srgbClr val="EBEBEB"/>
    <a:srgbClr val="355578"/>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D4185A-B8B3-4E48-B79C-DC30B53C90AC}" v="557" vWet="559" dt="2021-06-06T17:24:40.218"/>
    <p1510:client id="{9C5D9D49-F7E6-48D4-A26A-565E07E2DC08}" v="21" dt="2021-06-06T19:43:06.47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08" autoAdjust="0"/>
    <p:restoredTop sz="94660"/>
  </p:normalViewPr>
  <p:slideViewPr>
    <p:cSldViewPr snapToGrid="0">
      <p:cViewPr varScale="1">
        <p:scale>
          <a:sx n="118" d="100"/>
          <a:sy n="118" d="100"/>
        </p:scale>
        <p:origin x="845" y="8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619363"/>
          </a:xfrm>
          <a:prstGeom prst="rect">
            <a:avLst/>
          </a:prstGeom>
        </p:spPr>
        <p:txBody>
          <a:bodyPr vert="horz" lIns="108777" tIns="54389" rIns="108777" bIns="54389" rtlCol="0"/>
          <a:lstStyle>
            <a:lvl1pPr algn="l">
              <a:defRPr sz="1400"/>
            </a:lvl1pPr>
          </a:lstStyle>
          <a:p>
            <a:endParaRPr lang="en-US"/>
          </a:p>
        </p:txBody>
      </p:sp>
      <p:sp>
        <p:nvSpPr>
          <p:cNvPr id="3" name="Date Placeholder 2"/>
          <p:cNvSpPr>
            <a:spLocks noGrp="1"/>
          </p:cNvSpPr>
          <p:nvPr>
            <p:ph type="dt" sz="quarter" idx="1"/>
          </p:nvPr>
        </p:nvSpPr>
        <p:spPr>
          <a:xfrm>
            <a:off x="4143587" y="1"/>
            <a:ext cx="3169920" cy="619363"/>
          </a:xfrm>
          <a:prstGeom prst="rect">
            <a:avLst/>
          </a:prstGeom>
        </p:spPr>
        <p:txBody>
          <a:bodyPr vert="horz" lIns="108777" tIns="54389" rIns="108777" bIns="54389" rtlCol="0"/>
          <a:lstStyle>
            <a:lvl1pPr algn="r">
              <a:defRPr sz="1400"/>
            </a:lvl1pPr>
          </a:lstStyle>
          <a:p>
            <a:fld id="{D0E8F3FD-8012-4C7C-BCFB-C23E18FC275E}" type="datetimeFigureOut">
              <a:rPr lang="en-US" smtClean="0"/>
              <a:t>6/6/2021</a:t>
            </a:fld>
            <a:endParaRPr lang="en-US"/>
          </a:p>
        </p:txBody>
      </p:sp>
      <p:sp>
        <p:nvSpPr>
          <p:cNvPr id="5" name="TextBox 4"/>
          <p:cNvSpPr txBox="1"/>
          <p:nvPr/>
        </p:nvSpPr>
        <p:spPr>
          <a:xfrm>
            <a:off x="258531" y="12056274"/>
            <a:ext cx="6798142" cy="107722"/>
          </a:xfrm>
          <a:prstGeom prst="rect">
            <a:avLst/>
          </a:prstGeom>
          <a:noFill/>
        </p:spPr>
        <p:txBody>
          <a:bodyPr wrap="square" lIns="0" tIns="0" rIns="0" bIns="0" rtlCol="0" anchor="b" anchorCtr="0">
            <a:spAutoFit/>
          </a:bodyPr>
          <a:lstStyle/>
          <a:p>
            <a:pPr marL="271943" indent="-271943" defTabSz="1087770">
              <a:tabLst>
                <a:tab pos="271943" algn="l"/>
              </a:tabLst>
              <a:defRPr/>
            </a:pPr>
            <a:fld id="{1CE9EA8B-DBE7-492B-893F-AD13AC039ED7}" type="slidenum">
              <a:rPr lang="en-US" sz="700">
                <a:solidFill>
                  <a:srgbClr val="979D9D"/>
                </a:solidFill>
              </a:rPr>
              <a:pPr marL="271943" indent="-271943" defTabSz="1087770">
                <a:tabLst>
                  <a:tab pos="271943" algn="l"/>
                </a:tabLst>
                <a:defRPr/>
              </a:pPr>
              <a:t>‹#›</a:t>
            </a:fld>
            <a:r>
              <a:rPr lang="en-US" sz="70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3863" y="963613"/>
            <a:ext cx="6467475" cy="3638550"/>
          </a:xfrm>
          <a:prstGeom prst="rect">
            <a:avLst/>
          </a:prstGeom>
          <a:noFill/>
          <a:ln w="12700">
            <a:solidFill>
              <a:prstClr val="black"/>
            </a:solidFill>
          </a:ln>
        </p:spPr>
        <p:txBody>
          <a:bodyPr vert="horz" lIns="108777" tIns="54389" rIns="108777" bIns="54389" rtlCol="0" anchor="ctr"/>
          <a:lstStyle/>
          <a:p>
            <a:endParaRPr lang="en-US"/>
          </a:p>
        </p:txBody>
      </p:sp>
      <p:sp>
        <p:nvSpPr>
          <p:cNvPr id="5" name="Notes Placeholder 4"/>
          <p:cNvSpPr>
            <a:spLocks noGrp="1"/>
          </p:cNvSpPr>
          <p:nvPr>
            <p:ph type="body" sz="quarter" idx="3"/>
          </p:nvPr>
        </p:nvSpPr>
        <p:spPr>
          <a:xfrm>
            <a:off x="258530" y="4849923"/>
            <a:ext cx="6798142" cy="7066994"/>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327643" y="2678760"/>
            <a:ext cx="3320076" cy="169277"/>
          </a:xfrm>
          <a:prstGeom prst="rect">
            <a:avLst/>
          </a:prstGeom>
          <a:noFill/>
        </p:spPr>
        <p:txBody>
          <a:bodyPr wrap="none" lIns="0" tIns="0" rIns="0" bIns="0" rtlCol="0" anchor="ctr">
            <a:spAutoFit/>
          </a:bodyPr>
          <a:lstStyle/>
          <a:p>
            <a:pPr algn="ctr">
              <a:spcBef>
                <a:spcPts val="0"/>
              </a:spcBef>
              <a:spcAft>
                <a:spcPts val="0"/>
              </a:spcAft>
            </a:pPr>
            <a:r>
              <a:rPr lang="en-US" sz="1100" kern="1200" spc="119" baseline="0">
                <a:solidFill>
                  <a:srgbClr val="CDCDCD"/>
                </a:solidFill>
                <a:effectLst/>
              </a:rPr>
              <a:t>— NOT FOR EXTERNAL DISTRIBUTION —</a:t>
            </a:r>
            <a:endParaRPr lang="en-US" sz="1100" spc="119" baseline="0">
              <a:solidFill>
                <a:srgbClr val="CDCDCD"/>
              </a:solidFill>
            </a:endParaRPr>
          </a:p>
        </p:txBody>
      </p:sp>
      <p:sp>
        <p:nvSpPr>
          <p:cNvPr id="12" name="TextBox 11"/>
          <p:cNvSpPr txBox="1"/>
          <p:nvPr/>
        </p:nvSpPr>
        <p:spPr>
          <a:xfrm rot="5400000">
            <a:off x="5322768" y="2678760"/>
            <a:ext cx="3320076" cy="169277"/>
          </a:xfrm>
          <a:prstGeom prst="rect">
            <a:avLst/>
          </a:prstGeom>
          <a:noFill/>
        </p:spPr>
        <p:txBody>
          <a:bodyPr wrap="none" lIns="0" tIns="0" rIns="0" bIns="0" rtlCol="0" anchor="ctr">
            <a:spAutoFit/>
          </a:bodyPr>
          <a:lstStyle/>
          <a:p>
            <a:pPr algn="ctr">
              <a:spcBef>
                <a:spcPts val="0"/>
              </a:spcBef>
              <a:spcAft>
                <a:spcPts val="0"/>
              </a:spcAft>
            </a:pPr>
            <a:r>
              <a:rPr lang="en-US" sz="1100" kern="1200" spc="119" baseline="0">
                <a:solidFill>
                  <a:srgbClr val="CDCDCD"/>
                </a:solidFill>
                <a:effectLst/>
              </a:rPr>
              <a:t>— NOT FOR EXTERNAL DISTRIBUTION —</a:t>
            </a:r>
            <a:endParaRPr lang="en-US" sz="1100" spc="119" baseline="0">
              <a:solidFill>
                <a:srgbClr val="CDCDCD"/>
              </a:solidFill>
            </a:endParaRPr>
          </a:p>
        </p:txBody>
      </p:sp>
      <p:sp>
        <p:nvSpPr>
          <p:cNvPr id="14" name="Text Box 86"/>
          <p:cNvSpPr txBox="1">
            <a:spLocks noChangeArrowheads="1"/>
          </p:cNvSpPr>
          <p:nvPr/>
        </p:nvSpPr>
        <p:spPr bwMode="gray">
          <a:xfrm>
            <a:off x="258533" y="173152"/>
            <a:ext cx="6747805" cy="303649"/>
          </a:xfrm>
          <a:prstGeom prst="rect">
            <a:avLst/>
          </a:prstGeom>
          <a:noFill/>
          <a:ln w="12700">
            <a:noFill/>
            <a:miter lim="800000"/>
            <a:headEnd type="none" w="sm" len="sm"/>
            <a:tailEnd type="none" w="sm" len="sm"/>
          </a:ln>
          <a:effectLst/>
        </p:spPr>
        <p:txBody>
          <a:bodyPr wrap="square" lIns="0" tIns="54344" rIns="108689" bIns="54344" anchor="t" anchorCtr="0">
            <a:spAutoFit/>
          </a:bodyPr>
          <a:lstStyle/>
          <a:p>
            <a:pPr marL="0" marR="0" lvl="0" indent="0" algn="l" defTabSz="1085882" rtl="0" eaLnBrk="1" fontAlgn="auto" latinLnBrk="0" hangingPunct="1">
              <a:lnSpc>
                <a:spcPct val="90000"/>
              </a:lnSpc>
              <a:spcBef>
                <a:spcPct val="0"/>
              </a:spcBef>
              <a:spcAft>
                <a:spcPct val="0"/>
              </a:spcAft>
              <a:buClrTx/>
              <a:buSzTx/>
              <a:buFontTx/>
              <a:buNone/>
              <a:tabLst/>
              <a:defRPr/>
            </a:pPr>
            <a:r>
              <a:rPr lang="en-US" sz="1400" b="1"/>
              <a:t>Presentation Title</a:t>
            </a:r>
          </a:p>
        </p:txBody>
      </p:sp>
      <p:sp>
        <p:nvSpPr>
          <p:cNvPr id="8" name="TextBox 7"/>
          <p:cNvSpPr txBox="1"/>
          <p:nvPr/>
        </p:nvSpPr>
        <p:spPr>
          <a:xfrm>
            <a:off x="258531" y="12056274"/>
            <a:ext cx="6798142" cy="107722"/>
          </a:xfrm>
          <a:prstGeom prst="rect">
            <a:avLst/>
          </a:prstGeom>
          <a:noFill/>
        </p:spPr>
        <p:txBody>
          <a:bodyPr wrap="square" lIns="0" tIns="0" rIns="0" bIns="0" rtlCol="0" anchor="b" anchorCtr="0">
            <a:spAutoFit/>
          </a:bodyPr>
          <a:lstStyle/>
          <a:p>
            <a:pPr marL="271943" marR="0" lvl="0" indent="-271943" algn="l" defTabSz="1087770" rtl="0" eaLnBrk="1" fontAlgn="auto" latinLnBrk="0" hangingPunct="1">
              <a:lnSpc>
                <a:spcPct val="100000"/>
              </a:lnSpc>
              <a:spcBef>
                <a:spcPts val="0"/>
              </a:spcBef>
              <a:spcAft>
                <a:spcPts val="0"/>
              </a:spcAft>
              <a:buClrTx/>
              <a:buSzTx/>
              <a:buFontTx/>
              <a:buNone/>
              <a:tabLst>
                <a:tab pos="271943" algn="l"/>
              </a:tabLst>
              <a:defRPr/>
            </a:pPr>
            <a:fld id="{1CE9EA8B-DBE7-492B-893F-AD13AC039ED7}" type="slidenum">
              <a:rPr lang="en-US" sz="700" smtClean="0">
                <a:solidFill>
                  <a:srgbClr val="979D9D"/>
                </a:solidFill>
              </a:rPr>
              <a:pPr marL="271943" marR="0" lvl="0" indent="-271943" algn="l" defTabSz="1087770" rtl="0" eaLnBrk="1" fontAlgn="auto" latinLnBrk="0" hangingPunct="1">
                <a:lnSpc>
                  <a:spcPct val="100000"/>
                </a:lnSpc>
                <a:spcBef>
                  <a:spcPts val="0"/>
                </a:spcBef>
                <a:spcAft>
                  <a:spcPts val="0"/>
                </a:spcAft>
                <a:buClrTx/>
                <a:buSzTx/>
                <a:buFontTx/>
                <a:buNone/>
                <a:tabLst>
                  <a:tab pos="271943" algn="l"/>
                </a:tabLst>
                <a:defRPr/>
              </a:pPr>
              <a:t>‹#›</a:t>
            </a:fld>
            <a:r>
              <a:rPr lang="en-US" sz="70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endParaRPr lang="en-US"/>
          </a:p>
        </p:txBody>
      </p:sp>
      <p:sp>
        <p:nvSpPr>
          <p:cNvPr id="6" name="Rectangle 103"/>
          <p:cNvSpPr>
            <a:spLocks noChangeArrowheads="1"/>
          </p:cNvSpPr>
          <p:nvPr/>
        </p:nvSpPr>
        <p:spPr bwMode="gray">
          <a:xfrm>
            <a:off x="4119881" y="884806"/>
            <a:ext cx="2792984" cy="491853"/>
          </a:xfrm>
          <a:prstGeom prst="rect">
            <a:avLst/>
          </a:prstGeom>
          <a:noFill/>
          <a:ln w="9525">
            <a:noFill/>
            <a:miter lim="800000"/>
            <a:headEnd/>
            <a:tailEnd/>
          </a:ln>
        </p:spPr>
        <p:txBody>
          <a:bodyPr wrap="square" lIns="77357" tIns="30188" rIns="77357" bIns="30188">
            <a:spAutoFit/>
          </a:bodyPr>
          <a:lstStyle/>
          <a:p>
            <a:pPr defTabSz="1127429">
              <a:spcBef>
                <a:spcPct val="0"/>
              </a:spcBef>
              <a:spcAft>
                <a:spcPct val="0"/>
              </a:spcAft>
            </a:pPr>
            <a:r>
              <a:rPr lang="en-US" sz="1400">
                <a:solidFill>
                  <a:srgbClr val="000000"/>
                </a:solidFill>
              </a:rPr>
              <a:t>Presenter's Name</a:t>
            </a:r>
          </a:p>
          <a:p>
            <a:pPr defTabSz="1127429">
              <a:spcBef>
                <a:spcPct val="0"/>
              </a:spcBef>
              <a:spcAft>
                <a:spcPct val="0"/>
              </a:spcAft>
            </a:pPr>
            <a:r>
              <a:rPr lang="en-US" sz="1400">
                <a:solidFill>
                  <a:srgbClr val="000000"/>
                </a:solidFill>
              </a:rPr>
              <a:t>Presenter's Name</a:t>
            </a:r>
          </a:p>
        </p:txBody>
      </p:sp>
      <p:sp>
        <p:nvSpPr>
          <p:cNvPr id="4" name="Slide Image Placeholder 3"/>
          <p:cNvSpPr>
            <a:spLocks noGrp="1" noRot="1" noChangeAspect="1"/>
          </p:cNvSpPr>
          <p:nvPr>
            <p:ph type="sldImg"/>
          </p:nvPr>
        </p:nvSpPr>
        <p:spPr>
          <a:xfrm>
            <a:off x="420688" y="963613"/>
            <a:ext cx="6473825" cy="3641725"/>
          </a:xfrm>
        </p:spPr>
      </p:sp>
    </p:spTree>
    <p:extLst>
      <p:ext uri="{BB962C8B-B14F-4D97-AF65-F5344CB8AC3E}">
        <p14:creationId xmlns:p14="http://schemas.microsoft.com/office/powerpoint/2010/main" val="1487605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963613"/>
            <a:ext cx="6473825" cy="36417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608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1155197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615568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352474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177489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
        <p:nvSpPr>
          <p:cNvPr id="14" name="Title 1">
            <a:extLst>
              <a:ext uri="{FF2B5EF4-FFF2-40B4-BE49-F238E27FC236}">
                <a16:creationId xmlns:a16="http://schemas.microsoft.com/office/drawing/2014/main"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8" name="Text Placeholder 2">
            <a:extLst>
              <a:ext uri="{FF2B5EF4-FFF2-40B4-BE49-F238E27FC236}">
                <a16:creationId xmlns:a16="http://schemas.microsoft.com/office/drawing/2014/main"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335070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6281709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937759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601489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19098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094D293-C9BF-4FCB-9A99-51E71F38CBF8}"/>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2CB6DD0-A0BB-4AF5-97D9-C667B0603CCE}"/>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858249E-64C9-42EC-BD9C-9CE96DE59DF4}"/>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C022A2-30D1-4C19-AC92-0D0A7651B261}"/>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5" name="TextBox 14"/>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A47678B8-6514-40C4-87E5-5A2D66771883}"/>
              </a:ext>
            </a:extLst>
          </p:cNvPr>
          <p:cNvPicPr>
            <a:picLocks noChangeAspect="1"/>
          </p:cNvPicPr>
          <p:nvPr userDrawn="1"/>
        </p:nvPicPr>
        <p:blipFill>
          <a:blip r:embed="rId2"/>
          <a:stretch>
            <a:fillRect/>
          </a:stretch>
        </p:blipFill>
        <p:spPr>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41472237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75595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19096082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265270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5.bin"/><Relationship Id="rId2" Type="http://schemas.openxmlformats.org/officeDocument/2006/relationships/slideLayout" Target="../slideLayouts/slideLayout17.xml"/><Relationship Id="rId16" Type="http://schemas.openxmlformats.org/officeDocument/2006/relationships/tags" Target="../tags/tag1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9.xml"/><Relationship Id="rId10" Type="http://schemas.openxmlformats.org/officeDocument/2006/relationships/slideLayout" Target="../slideLayouts/slideLayout25.xml"/><Relationship Id="rId19"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1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vmlDrawing" Target="../drawings/vmlDrawing8.v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oleObject" Target="../embeddings/oleObject8.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17.xml"/><Relationship Id="rId18" Type="http://schemas.openxmlformats.org/officeDocument/2006/relationships/image" Target="../media/image3.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vmlDrawing" Target="../drawings/vmlDrawing9.vml"/><Relationship Id="rId17" Type="http://schemas.openxmlformats.org/officeDocument/2006/relationships/image" Target="../media/image4.png"/><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oleObject" Target="../embeddings/oleObject9.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a:solidFill>
                  <a:schemeClr val="tx1"/>
                </a:solidFill>
                <a:latin typeface="+mn-lt"/>
                <a:ea typeface="+mn-ea"/>
                <a:cs typeface="+mn-cs"/>
              </a:rPr>
              <a:t>	© 2021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8FFD9961-B054-46E1-8C9C-58640BDF07D7}"/>
              </a:ext>
            </a:extLst>
          </p:cNvPr>
          <p:cNvPicPr>
            <a:picLocks noChangeAspect="1"/>
          </p:cNvPicPr>
          <p:nvPr userDrawn="1"/>
        </p:nvPicPr>
        <p:blipFill>
          <a:blip r:embed="rId19"/>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1055457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pic>
        <p:nvPicPr>
          <p:cNvPr id="14" name="Gartner Logo"/>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6211B762-A9E6-4AB1-A3BB-BD25B14110C1}"/>
              </a:ext>
            </a:extLst>
          </p:cNvPr>
          <p:cNvPicPr>
            <a:picLocks noChangeAspect="1"/>
          </p:cNvPicPr>
          <p:nvPr userDrawn="1"/>
        </p:nvPicPr>
        <p:blipFill>
          <a:blip r:embed="rId18"/>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11.bin"/><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C08B-4616-497F-8188-60AE5A6190C1}"/>
              </a:ext>
            </a:extLst>
          </p:cNvPr>
          <p:cNvGraphicFramePr>
            <a:graphicFrameLocks noChangeAspect="1"/>
          </p:cNvGraphicFramePr>
          <p:nvPr>
            <p:custDataLst>
              <p:tags r:id="rId2"/>
            </p:custDataLst>
            <p:extLst>
              <p:ext uri="{D42A27DB-BD31-4B8C-83A1-F6EECF244321}">
                <p14:modId xmlns:p14="http://schemas.microsoft.com/office/powerpoint/2010/main" val="205087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0A7C08B-4616-497F-8188-60AE5A619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AEFAD7-CD91-4230-9093-435F6E176986}"/>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a:latin typeface="Arial Black" panose="020B0A04020102020204" pitchFamily="34" charset="0"/>
              <a:ea typeface="+mj-ea"/>
              <a:cs typeface="+mj-cs"/>
              <a:sym typeface="Arial Black" panose="020B0A04020102020204" pitchFamily="34" charset="0"/>
            </a:endParaRPr>
          </a:p>
        </p:txBody>
      </p:sp>
      <p:sp>
        <p:nvSpPr>
          <p:cNvPr id="10" name="Text Placeholder 3">
            <a:extLst>
              <a:ext uri="{FF2B5EF4-FFF2-40B4-BE49-F238E27FC236}">
                <a16:creationId xmlns:a16="http://schemas.microsoft.com/office/drawing/2014/main" id="{7F4D3082-67FC-40D2-92A4-DDF1229F9F7D}"/>
              </a:ext>
            </a:extLst>
          </p:cNvPr>
          <p:cNvSpPr>
            <a:spLocks noGrp="1"/>
          </p:cNvSpPr>
          <p:nvPr>
            <p:ph type="body" sz="quarter" idx="10"/>
          </p:nvPr>
        </p:nvSpPr>
        <p:spPr>
          <a:xfrm>
            <a:off x="2166861" y="3804785"/>
            <a:ext cx="4545024" cy="830997"/>
          </a:xfrm>
        </p:spPr>
        <p:txBody>
          <a:bodyPr/>
          <a:lstStyle/>
          <a:p>
            <a:r>
              <a:rPr lang="en-US" dirty="0"/>
              <a:t>Justice Reinvestment Policy Oversight Board</a:t>
            </a:r>
          </a:p>
          <a:p>
            <a:r>
              <a:rPr lang="en-US" dirty="0"/>
              <a:t>June 7, 2021</a:t>
            </a:r>
          </a:p>
        </p:txBody>
      </p:sp>
      <p:sp>
        <p:nvSpPr>
          <p:cNvPr id="11" name="Title 7">
            <a:extLst>
              <a:ext uri="{FF2B5EF4-FFF2-40B4-BE49-F238E27FC236}">
                <a16:creationId xmlns:a16="http://schemas.microsoft.com/office/drawing/2014/main" id="{9EC6C10E-DEFC-4C4A-A4ED-5FC916EAA97F}"/>
              </a:ext>
            </a:extLst>
          </p:cNvPr>
          <p:cNvSpPr>
            <a:spLocks noGrp="1"/>
          </p:cNvSpPr>
          <p:nvPr>
            <p:ph type="ctrTitle"/>
          </p:nvPr>
        </p:nvSpPr>
        <p:spPr>
          <a:xfrm>
            <a:off x="2166861" y="1424059"/>
            <a:ext cx="4545024" cy="2314824"/>
          </a:xfrm>
        </p:spPr>
        <p:txBody>
          <a:bodyPr/>
          <a:lstStyle/>
          <a:p>
            <a:r>
              <a:rPr lang="en-US" dirty="0"/>
              <a:t>Massachusetts Criminal Justice Data Collection &amp; Reporting</a:t>
            </a:r>
            <a:br>
              <a:rPr lang="en-US" dirty="0"/>
            </a:br>
            <a:r>
              <a:rPr lang="en-US" sz="2000" b="1" dirty="0">
                <a:solidFill>
                  <a:srgbClr val="009AD7"/>
                </a:solidFill>
                <a:latin typeface="+mn-lt"/>
              </a:rPr>
              <a:t>Project Health Check</a:t>
            </a:r>
          </a:p>
        </p:txBody>
      </p:sp>
    </p:spTree>
    <p:extLst>
      <p:ext uri="{BB962C8B-B14F-4D97-AF65-F5344CB8AC3E}">
        <p14:creationId xmlns:p14="http://schemas.microsoft.com/office/powerpoint/2010/main" val="3640688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5E9C27-9D6B-48AB-95FE-BABA3E8B22F3}"/>
              </a:ext>
            </a:extLst>
          </p:cNvPr>
          <p:cNvGraphicFramePr>
            <a:graphicFrameLocks noChangeAspect="1"/>
          </p:cNvGraphicFramePr>
          <p:nvPr>
            <p:custDataLst>
              <p:tags r:id="rId2"/>
            </p:custDataLst>
            <p:extLst>
              <p:ext uri="{D42A27DB-BD31-4B8C-83A1-F6EECF244321}">
                <p14:modId xmlns:p14="http://schemas.microsoft.com/office/powerpoint/2010/main" val="377199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7" imgW="425" imgH="424" progId="TCLayout.ActiveDocument.1">
                  <p:embed/>
                </p:oleObj>
              </mc:Choice>
              <mc:Fallback>
                <p:oleObj name="think-cell Slide" r:id="rId7" imgW="425" imgH="424" progId="TCLayout.ActiveDocument.1">
                  <p:embed/>
                  <p:pic>
                    <p:nvPicPr>
                      <p:cNvPr id="2" name="Object 1" hidden="1">
                        <a:extLst>
                          <a:ext uri="{FF2B5EF4-FFF2-40B4-BE49-F238E27FC236}">
                            <a16:creationId xmlns:a16="http://schemas.microsoft.com/office/drawing/2014/main" id="{EE5E9C27-9D6B-48AB-95FE-BABA3E8B2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a:t>Contacts</a:t>
            </a:r>
          </a:p>
        </p:txBody>
      </p:sp>
      <p:sp>
        <p:nvSpPr>
          <p:cNvPr id="7" name="Text Box 16">
            <a:extLst>
              <a:ext uri="{FF2B5EF4-FFF2-40B4-BE49-F238E27FC236}">
                <a16:creationId xmlns:a16="http://schemas.microsoft.com/office/drawing/2014/main" id="{732C59F2-D98B-4E1C-9ABF-EF4AC9CD1ECC}"/>
              </a:ext>
            </a:extLst>
          </p:cNvPr>
          <p:cNvSpPr txBox="1">
            <a:spLocks noChangeArrowheads="1"/>
          </p:cNvSpPr>
          <p:nvPr>
            <p:custDataLst>
              <p:tags r:id="rId3"/>
            </p:custDataLst>
          </p:nvPr>
        </p:nvSpPr>
        <p:spPr bwMode="auto">
          <a:xfrm>
            <a:off x="466727" y="2837632"/>
            <a:ext cx="3098877" cy="1169551"/>
          </a:xfrm>
          <a:prstGeom prst="rect">
            <a:avLst/>
          </a:prstGeom>
          <a:noFill/>
          <a:ln w="12700">
            <a:noFill/>
            <a:miter lim="800000"/>
            <a:headEnd type="none" w="lg" len="lg"/>
            <a:tailEnd type="none" w="lg" len="lg"/>
          </a:ln>
        </p:spPr>
        <p:txBody>
          <a:bodyPr wrap="square" lIns="0" tIns="0" rIns="0" bIns="0">
            <a:spAutoFit/>
          </a:bodyPr>
          <a:lstStyle/>
          <a:p>
            <a:pPr algn="l">
              <a:spcBef>
                <a:spcPts val="0"/>
              </a:spcBef>
            </a:pPr>
            <a:r>
              <a:rPr lang="en-US" sz="1600" b="1">
                <a:solidFill>
                  <a:schemeClr val="tx2"/>
                </a:solidFill>
                <a:latin typeface="+mj-lt"/>
              </a:rPr>
              <a:t>Gartner</a:t>
            </a:r>
          </a:p>
          <a:p>
            <a:r>
              <a:rPr lang="en-US" sz="1200">
                <a:solidFill>
                  <a:srgbClr val="808080"/>
                </a:solidFill>
              </a:rPr>
              <a:t>Maydad Cohen</a:t>
            </a:r>
          </a:p>
          <a:p>
            <a:r>
              <a:rPr lang="en-US" sz="1200">
                <a:solidFill>
                  <a:srgbClr val="808080"/>
                </a:solidFill>
              </a:rPr>
              <a:t>Associate Partner</a:t>
            </a:r>
            <a:br>
              <a:rPr lang="en-US" sz="1200">
                <a:solidFill>
                  <a:srgbClr val="808080"/>
                </a:solidFill>
              </a:rPr>
            </a:br>
            <a:r>
              <a:rPr lang="en-US" sz="1200">
                <a:solidFill>
                  <a:srgbClr val="808080"/>
                </a:solidFill>
              </a:rPr>
              <a:t>Gartner Consulting</a:t>
            </a:r>
          </a:p>
          <a:p>
            <a:r>
              <a:rPr lang="en-US" sz="1200">
                <a:solidFill>
                  <a:srgbClr val="808080"/>
                </a:solidFill>
              </a:rPr>
              <a:t>+1 (617) 686-5506 maydad.cohen@gartner.com</a:t>
            </a:r>
          </a:p>
        </p:txBody>
      </p:sp>
      <p:sp>
        <p:nvSpPr>
          <p:cNvPr id="8" name="Text Box 16">
            <a:extLst>
              <a:ext uri="{FF2B5EF4-FFF2-40B4-BE49-F238E27FC236}">
                <a16:creationId xmlns:a16="http://schemas.microsoft.com/office/drawing/2014/main" id="{6C945101-F515-4292-A3A2-AFF7982F35B6}"/>
              </a:ext>
            </a:extLst>
          </p:cNvPr>
          <p:cNvSpPr txBox="1">
            <a:spLocks noChangeArrowheads="1"/>
          </p:cNvSpPr>
          <p:nvPr>
            <p:custDataLst>
              <p:tags r:id="rId4"/>
            </p:custDataLst>
          </p:nvPr>
        </p:nvSpPr>
        <p:spPr bwMode="auto">
          <a:xfrm>
            <a:off x="4550531" y="2837632"/>
            <a:ext cx="3098877" cy="1169551"/>
          </a:xfrm>
          <a:prstGeom prst="rect">
            <a:avLst/>
          </a:prstGeom>
          <a:noFill/>
          <a:ln w="12700">
            <a:noFill/>
            <a:miter lim="800000"/>
            <a:headEnd type="none" w="lg" len="lg"/>
            <a:tailEnd type="none" w="lg" len="lg"/>
          </a:ln>
        </p:spPr>
        <p:txBody>
          <a:bodyPr wrap="square" lIns="0" tIns="0" rIns="0" bIns="0">
            <a:spAutoFit/>
          </a:bodyPr>
          <a:lstStyle/>
          <a:p>
            <a:r>
              <a:rPr lang="en-US" sz="1600" b="1">
                <a:solidFill>
                  <a:schemeClr val="tx2"/>
                </a:solidFill>
                <a:latin typeface="+mj-lt"/>
              </a:rPr>
              <a:t>Gartner</a:t>
            </a:r>
          </a:p>
          <a:p>
            <a:pPr algn="l">
              <a:spcBef>
                <a:spcPts val="0"/>
              </a:spcBef>
            </a:pPr>
            <a:r>
              <a:rPr lang="en-US" sz="1200">
                <a:solidFill>
                  <a:srgbClr val="808080"/>
                </a:solidFill>
              </a:rPr>
              <a:t>Krysta Anthony</a:t>
            </a:r>
          </a:p>
          <a:p>
            <a:pPr algn="l">
              <a:spcBef>
                <a:spcPts val="0"/>
              </a:spcBef>
            </a:pPr>
            <a:r>
              <a:rPr lang="en-US" sz="1200">
                <a:solidFill>
                  <a:srgbClr val="808080"/>
                </a:solidFill>
              </a:rPr>
              <a:t>Engagement Manager</a:t>
            </a:r>
          </a:p>
          <a:p>
            <a:pPr algn="l">
              <a:spcBef>
                <a:spcPts val="0"/>
              </a:spcBef>
            </a:pPr>
            <a:r>
              <a:rPr lang="en-US" sz="1200">
                <a:solidFill>
                  <a:srgbClr val="808080"/>
                </a:solidFill>
              </a:rPr>
              <a:t>Gartner Consulting</a:t>
            </a:r>
          </a:p>
          <a:p>
            <a:r>
              <a:rPr lang="en-US" sz="1200">
                <a:solidFill>
                  <a:srgbClr val="808080"/>
                </a:solidFill>
              </a:rPr>
              <a:t>+1 (571) 228-0822</a:t>
            </a:r>
          </a:p>
          <a:p>
            <a:r>
              <a:rPr lang="en-US" sz="1200">
                <a:solidFill>
                  <a:srgbClr val="808080"/>
                </a:solidFill>
              </a:rPr>
              <a:t>krysta.anthony@gartner.com</a:t>
            </a:r>
          </a:p>
        </p:txBody>
      </p:sp>
    </p:spTree>
    <p:extLst>
      <p:ext uri="{BB962C8B-B14F-4D97-AF65-F5344CB8AC3E}">
        <p14:creationId xmlns:p14="http://schemas.microsoft.com/office/powerpoint/2010/main" val="3683284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3D4838-1012-45C5-864F-341B7A054EE0}"/>
              </a:ext>
            </a:extLst>
          </p:cNvPr>
          <p:cNvSpPr/>
          <p:nvPr/>
        </p:nvSpPr>
        <p:spPr bwMode="gray">
          <a:xfrm>
            <a:off x="1555453" y="2320870"/>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Law Enforcement</a:t>
            </a:r>
          </a:p>
        </p:txBody>
      </p:sp>
      <p:sp>
        <p:nvSpPr>
          <p:cNvPr id="4" name="Rectangle 3">
            <a:extLst>
              <a:ext uri="{FF2B5EF4-FFF2-40B4-BE49-F238E27FC236}">
                <a16:creationId xmlns:a16="http://schemas.microsoft.com/office/drawing/2014/main" id="{A1014F38-D51B-44CB-B2EB-EC138EED39A1}"/>
              </a:ext>
            </a:extLst>
          </p:cNvPr>
          <p:cNvSpPr/>
          <p:nvPr/>
        </p:nvSpPr>
        <p:spPr bwMode="gray">
          <a:xfrm>
            <a:off x="3244908" y="4663351"/>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rrections</a:t>
            </a:r>
          </a:p>
        </p:txBody>
      </p:sp>
      <p:sp>
        <p:nvSpPr>
          <p:cNvPr id="5" name="Rectangle 4">
            <a:extLst>
              <a:ext uri="{FF2B5EF4-FFF2-40B4-BE49-F238E27FC236}">
                <a16:creationId xmlns:a16="http://schemas.microsoft.com/office/drawing/2014/main" id="{9B786635-2789-4E15-BD26-734F08484E14}"/>
              </a:ext>
            </a:extLst>
          </p:cNvPr>
          <p:cNvSpPr/>
          <p:nvPr/>
        </p:nvSpPr>
        <p:spPr bwMode="gray">
          <a:xfrm>
            <a:off x="745546" y="3525104"/>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Sheriffs</a:t>
            </a:r>
          </a:p>
        </p:txBody>
      </p:sp>
      <p:sp>
        <p:nvSpPr>
          <p:cNvPr id="6" name="Rectangle 5">
            <a:extLst>
              <a:ext uri="{FF2B5EF4-FFF2-40B4-BE49-F238E27FC236}">
                <a16:creationId xmlns:a16="http://schemas.microsoft.com/office/drawing/2014/main" id="{18341284-D8C2-4B56-994A-4066B3EA0187}"/>
              </a:ext>
            </a:extLst>
          </p:cNvPr>
          <p:cNvSpPr/>
          <p:nvPr/>
        </p:nvSpPr>
        <p:spPr bwMode="gray">
          <a:xfrm>
            <a:off x="1555453" y="4663351"/>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unty DAs</a:t>
            </a:r>
          </a:p>
        </p:txBody>
      </p:sp>
      <p:sp>
        <p:nvSpPr>
          <p:cNvPr id="7" name="Rectangle 6">
            <a:extLst>
              <a:ext uri="{FF2B5EF4-FFF2-40B4-BE49-F238E27FC236}">
                <a16:creationId xmlns:a16="http://schemas.microsoft.com/office/drawing/2014/main" id="{986F2890-DE3E-483F-BBE2-A5DFEAD646C0}"/>
              </a:ext>
            </a:extLst>
          </p:cNvPr>
          <p:cNvSpPr/>
          <p:nvPr/>
        </p:nvSpPr>
        <p:spPr bwMode="gray">
          <a:xfrm>
            <a:off x="3262326" y="2320870"/>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urts</a:t>
            </a:r>
          </a:p>
        </p:txBody>
      </p:sp>
      <p:sp>
        <p:nvSpPr>
          <p:cNvPr id="8" name="Rectangle 7">
            <a:extLst>
              <a:ext uri="{FF2B5EF4-FFF2-40B4-BE49-F238E27FC236}">
                <a16:creationId xmlns:a16="http://schemas.microsoft.com/office/drawing/2014/main" id="{986AD8EE-D790-4E50-B90A-CC6D6854B7BA}"/>
              </a:ext>
            </a:extLst>
          </p:cNvPr>
          <p:cNvSpPr/>
          <p:nvPr/>
        </p:nvSpPr>
        <p:spPr bwMode="gray">
          <a:xfrm>
            <a:off x="4054812" y="3525104"/>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Probation</a:t>
            </a:r>
          </a:p>
        </p:txBody>
      </p:sp>
      <p:cxnSp>
        <p:nvCxnSpPr>
          <p:cNvPr id="9" name="Straight Connector 8">
            <a:extLst>
              <a:ext uri="{FF2B5EF4-FFF2-40B4-BE49-F238E27FC236}">
                <a16:creationId xmlns:a16="http://schemas.microsoft.com/office/drawing/2014/main" id="{BF061E03-7F8E-40DE-8384-276BAA72F25C}"/>
              </a:ext>
            </a:extLst>
          </p:cNvPr>
          <p:cNvCxnSpPr>
            <a:stCxn id="3" idx="3"/>
            <a:endCxn id="7" idx="1"/>
          </p:cNvCxnSpPr>
          <p:nvPr/>
        </p:nvCxnSpPr>
        <p:spPr bwMode="gray">
          <a:xfrm>
            <a:off x="2765945" y="2582128"/>
            <a:ext cx="496381" cy="0"/>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3171DEB-9813-43AE-94E0-7EBED4082132}"/>
              </a:ext>
            </a:extLst>
          </p:cNvPr>
          <p:cNvCxnSpPr>
            <a:cxnSpLocks/>
            <a:stCxn id="3" idx="2"/>
            <a:endCxn id="8" idx="1"/>
          </p:cNvCxnSpPr>
          <p:nvPr/>
        </p:nvCxnSpPr>
        <p:spPr bwMode="gray">
          <a:xfrm>
            <a:off x="2160699" y="2843385"/>
            <a:ext cx="1894113" cy="942977"/>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3221A30-AEB4-4172-9AEE-327B3C85715E}"/>
              </a:ext>
            </a:extLst>
          </p:cNvPr>
          <p:cNvCxnSpPr>
            <a:cxnSpLocks/>
            <a:stCxn id="3" idx="2"/>
            <a:endCxn id="4" idx="0"/>
          </p:cNvCxnSpPr>
          <p:nvPr/>
        </p:nvCxnSpPr>
        <p:spPr bwMode="gray">
          <a:xfrm>
            <a:off x="2160699" y="2843385"/>
            <a:ext cx="1689455" cy="1819966"/>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8EED8E7-7E3C-4B8F-9FA5-BC59A1B3C0AA}"/>
              </a:ext>
            </a:extLst>
          </p:cNvPr>
          <p:cNvCxnSpPr>
            <a:cxnSpLocks/>
            <a:stCxn id="5" idx="3"/>
            <a:endCxn id="7" idx="2"/>
          </p:cNvCxnSpPr>
          <p:nvPr/>
        </p:nvCxnSpPr>
        <p:spPr bwMode="gray">
          <a:xfrm flipV="1">
            <a:off x="1956038" y="2843385"/>
            <a:ext cx="1911534" cy="942977"/>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A6642F7-5E7F-485A-AC66-FE2C738767D6}"/>
              </a:ext>
            </a:extLst>
          </p:cNvPr>
          <p:cNvCxnSpPr>
            <a:cxnSpLocks/>
            <a:stCxn id="5" idx="3"/>
            <a:endCxn id="8" idx="1"/>
          </p:cNvCxnSpPr>
          <p:nvPr/>
        </p:nvCxnSpPr>
        <p:spPr bwMode="gray">
          <a:xfrm>
            <a:off x="1956038" y="3786362"/>
            <a:ext cx="2098774" cy="0"/>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81D0670-732B-4F0E-ABDC-E33891F6072C}"/>
              </a:ext>
            </a:extLst>
          </p:cNvPr>
          <p:cNvCxnSpPr>
            <a:cxnSpLocks/>
            <a:stCxn id="5" idx="3"/>
            <a:endCxn id="4" idx="0"/>
          </p:cNvCxnSpPr>
          <p:nvPr/>
        </p:nvCxnSpPr>
        <p:spPr bwMode="gray">
          <a:xfrm>
            <a:off x="1956038" y="3786362"/>
            <a:ext cx="1894116" cy="876989"/>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D30FE3-3247-4965-B8B3-F01D7AF3ACF0}"/>
              </a:ext>
            </a:extLst>
          </p:cNvPr>
          <p:cNvCxnSpPr>
            <a:cxnSpLocks/>
            <a:stCxn id="8" idx="2"/>
            <a:endCxn id="4" idx="0"/>
          </p:cNvCxnSpPr>
          <p:nvPr/>
        </p:nvCxnSpPr>
        <p:spPr bwMode="gray">
          <a:xfrm flipH="1">
            <a:off x="3850154" y="4047619"/>
            <a:ext cx="809904" cy="615732"/>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CFC134-89E1-4ED7-A299-7E34E28C38C1}"/>
              </a:ext>
            </a:extLst>
          </p:cNvPr>
          <p:cNvCxnSpPr>
            <a:stCxn id="8" idx="1"/>
            <a:endCxn id="6" idx="0"/>
          </p:cNvCxnSpPr>
          <p:nvPr/>
        </p:nvCxnSpPr>
        <p:spPr bwMode="gray">
          <a:xfrm flipH="1">
            <a:off x="2160699" y="3786362"/>
            <a:ext cx="1894113" cy="876989"/>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A5809CE-9D2A-4F18-B25B-927098776888}"/>
              </a:ext>
            </a:extLst>
          </p:cNvPr>
          <p:cNvCxnSpPr>
            <a:cxnSpLocks/>
            <a:stCxn id="8" idx="0"/>
            <a:endCxn id="7" idx="2"/>
          </p:cNvCxnSpPr>
          <p:nvPr/>
        </p:nvCxnSpPr>
        <p:spPr bwMode="gray">
          <a:xfrm flipH="1" flipV="1">
            <a:off x="3867572" y="2843385"/>
            <a:ext cx="792486" cy="681719"/>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66F4311-1FCB-4139-B72C-22C5E83A8133}"/>
              </a:ext>
            </a:extLst>
          </p:cNvPr>
          <p:cNvCxnSpPr>
            <a:cxnSpLocks/>
            <a:stCxn id="5" idx="2"/>
            <a:endCxn id="6" idx="0"/>
          </p:cNvCxnSpPr>
          <p:nvPr/>
        </p:nvCxnSpPr>
        <p:spPr bwMode="gray">
          <a:xfrm>
            <a:off x="1350792" y="4047619"/>
            <a:ext cx="809907" cy="615732"/>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734DE30-95A4-461D-89C0-458AA944B78C}"/>
              </a:ext>
            </a:extLst>
          </p:cNvPr>
          <p:cNvCxnSpPr>
            <a:cxnSpLocks/>
            <a:stCxn id="5" idx="0"/>
            <a:endCxn id="3" idx="2"/>
          </p:cNvCxnSpPr>
          <p:nvPr/>
        </p:nvCxnSpPr>
        <p:spPr bwMode="gray">
          <a:xfrm flipV="1">
            <a:off x="1350792" y="2843385"/>
            <a:ext cx="809907" cy="681719"/>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A861B01-AA54-48DB-8E04-956718D164AB}"/>
              </a:ext>
            </a:extLst>
          </p:cNvPr>
          <p:cNvCxnSpPr>
            <a:stCxn id="7" idx="2"/>
            <a:endCxn id="6" idx="0"/>
          </p:cNvCxnSpPr>
          <p:nvPr/>
        </p:nvCxnSpPr>
        <p:spPr bwMode="gray">
          <a:xfrm flipH="1">
            <a:off x="2160699" y="2843385"/>
            <a:ext cx="1706873" cy="1819966"/>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17F69CE-9630-4F7B-A822-6EE9C87B8C22}"/>
              </a:ext>
            </a:extLst>
          </p:cNvPr>
          <p:cNvCxnSpPr>
            <a:stCxn id="6" idx="0"/>
            <a:endCxn id="3" idx="2"/>
          </p:cNvCxnSpPr>
          <p:nvPr/>
        </p:nvCxnSpPr>
        <p:spPr bwMode="gray">
          <a:xfrm flipV="1">
            <a:off x="2160699" y="2843385"/>
            <a:ext cx="0" cy="1819966"/>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5E0D681-C263-4E9E-B70F-8679D329A3AD}"/>
              </a:ext>
            </a:extLst>
          </p:cNvPr>
          <p:cNvCxnSpPr>
            <a:stCxn id="4" idx="0"/>
            <a:endCxn id="7" idx="2"/>
          </p:cNvCxnSpPr>
          <p:nvPr/>
        </p:nvCxnSpPr>
        <p:spPr bwMode="gray">
          <a:xfrm flipV="1">
            <a:off x="3850154" y="2843385"/>
            <a:ext cx="17418" cy="1819966"/>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5B1B163-7A57-410E-BB9D-81226210DE7C}"/>
              </a:ext>
            </a:extLst>
          </p:cNvPr>
          <p:cNvCxnSpPr>
            <a:stCxn id="4" idx="1"/>
            <a:endCxn id="6" idx="3"/>
          </p:cNvCxnSpPr>
          <p:nvPr/>
        </p:nvCxnSpPr>
        <p:spPr bwMode="gray">
          <a:xfrm flipH="1">
            <a:off x="2765945" y="4924609"/>
            <a:ext cx="478963" cy="0"/>
          </a:xfrm>
          <a:prstGeom prst="line">
            <a:avLst/>
          </a:prstGeom>
          <a:ln w="34925">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AD73A98-E773-4C15-948E-36FF12486533}"/>
              </a:ext>
            </a:extLst>
          </p:cNvPr>
          <p:cNvSpPr/>
          <p:nvPr/>
        </p:nvSpPr>
        <p:spPr bwMode="gray">
          <a:xfrm>
            <a:off x="7639861" y="2320870"/>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Law Enforcement</a:t>
            </a:r>
          </a:p>
        </p:txBody>
      </p:sp>
      <p:sp>
        <p:nvSpPr>
          <p:cNvPr id="25" name="Rectangle 24">
            <a:extLst>
              <a:ext uri="{FF2B5EF4-FFF2-40B4-BE49-F238E27FC236}">
                <a16:creationId xmlns:a16="http://schemas.microsoft.com/office/drawing/2014/main" id="{22D66AF3-A430-4B04-B490-93A0C27D4A52}"/>
              </a:ext>
            </a:extLst>
          </p:cNvPr>
          <p:cNvSpPr/>
          <p:nvPr/>
        </p:nvSpPr>
        <p:spPr bwMode="gray">
          <a:xfrm>
            <a:off x="9346734" y="4661781"/>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rrections</a:t>
            </a:r>
          </a:p>
        </p:txBody>
      </p:sp>
      <p:sp>
        <p:nvSpPr>
          <p:cNvPr id="26" name="Rectangle 25">
            <a:extLst>
              <a:ext uri="{FF2B5EF4-FFF2-40B4-BE49-F238E27FC236}">
                <a16:creationId xmlns:a16="http://schemas.microsoft.com/office/drawing/2014/main" id="{56EB6E15-CD07-4FF4-8D6F-66B4A22ED06B}"/>
              </a:ext>
            </a:extLst>
          </p:cNvPr>
          <p:cNvSpPr/>
          <p:nvPr/>
        </p:nvSpPr>
        <p:spPr bwMode="gray">
          <a:xfrm>
            <a:off x="6829954" y="3525104"/>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Sheriffs</a:t>
            </a:r>
          </a:p>
        </p:txBody>
      </p:sp>
      <p:sp>
        <p:nvSpPr>
          <p:cNvPr id="27" name="Rectangle 26">
            <a:extLst>
              <a:ext uri="{FF2B5EF4-FFF2-40B4-BE49-F238E27FC236}">
                <a16:creationId xmlns:a16="http://schemas.microsoft.com/office/drawing/2014/main" id="{8113745D-4804-45C4-91B8-601DF3AD3842}"/>
              </a:ext>
            </a:extLst>
          </p:cNvPr>
          <p:cNvSpPr/>
          <p:nvPr/>
        </p:nvSpPr>
        <p:spPr bwMode="gray">
          <a:xfrm>
            <a:off x="7639861" y="4663351"/>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unty DAs</a:t>
            </a:r>
          </a:p>
        </p:txBody>
      </p:sp>
      <p:sp>
        <p:nvSpPr>
          <p:cNvPr id="28" name="Rectangle 27">
            <a:extLst>
              <a:ext uri="{FF2B5EF4-FFF2-40B4-BE49-F238E27FC236}">
                <a16:creationId xmlns:a16="http://schemas.microsoft.com/office/drawing/2014/main" id="{D2B6A90B-244B-4E33-9892-5BF5E3EE062A}"/>
              </a:ext>
            </a:extLst>
          </p:cNvPr>
          <p:cNvSpPr/>
          <p:nvPr/>
        </p:nvSpPr>
        <p:spPr bwMode="gray">
          <a:xfrm>
            <a:off x="9346734" y="2320870"/>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ourts</a:t>
            </a:r>
          </a:p>
        </p:txBody>
      </p:sp>
      <p:sp>
        <p:nvSpPr>
          <p:cNvPr id="29" name="Rectangle 28">
            <a:extLst>
              <a:ext uri="{FF2B5EF4-FFF2-40B4-BE49-F238E27FC236}">
                <a16:creationId xmlns:a16="http://schemas.microsoft.com/office/drawing/2014/main" id="{2B19942B-51A6-4792-B4CE-E16D74EC8DEC}"/>
              </a:ext>
            </a:extLst>
          </p:cNvPr>
          <p:cNvSpPr/>
          <p:nvPr/>
        </p:nvSpPr>
        <p:spPr bwMode="gray">
          <a:xfrm>
            <a:off x="10139220" y="3525104"/>
            <a:ext cx="1210492"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Probation</a:t>
            </a:r>
          </a:p>
        </p:txBody>
      </p:sp>
      <p:cxnSp>
        <p:nvCxnSpPr>
          <p:cNvPr id="30" name="Straight Connector 29">
            <a:extLst>
              <a:ext uri="{FF2B5EF4-FFF2-40B4-BE49-F238E27FC236}">
                <a16:creationId xmlns:a16="http://schemas.microsoft.com/office/drawing/2014/main" id="{3B8E051A-2001-4E69-9C27-8CD0B7B30850}"/>
              </a:ext>
            </a:extLst>
          </p:cNvPr>
          <p:cNvCxnSpPr>
            <a:cxnSpLocks/>
            <a:stCxn id="29" idx="1"/>
            <a:endCxn id="35" idx="0"/>
          </p:cNvCxnSpPr>
          <p:nvPr/>
        </p:nvCxnSpPr>
        <p:spPr bwMode="gray">
          <a:xfrm flipH="1">
            <a:off x="9594181" y="3786362"/>
            <a:ext cx="545039" cy="2754"/>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8263559-9687-454B-A123-EC08117B11FE}"/>
              </a:ext>
            </a:extLst>
          </p:cNvPr>
          <p:cNvCxnSpPr>
            <a:cxnSpLocks/>
            <a:stCxn id="35" idx="5"/>
            <a:endCxn id="28" idx="2"/>
          </p:cNvCxnSpPr>
          <p:nvPr/>
        </p:nvCxnSpPr>
        <p:spPr bwMode="gray">
          <a:xfrm flipV="1">
            <a:off x="9389269" y="2843385"/>
            <a:ext cx="562711" cy="535907"/>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B80D43D-8CD8-43A7-85A9-4F12993ABF4B}"/>
              </a:ext>
            </a:extLst>
          </p:cNvPr>
          <p:cNvCxnSpPr>
            <a:cxnSpLocks/>
            <a:stCxn id="35" idx="2"/>
            <a:endCxn id="27" idx="0"/>
          </p:cNvCxnSpPr>
          <p:nvPr/>
        </p:nvCxnSpPr>
        <p:spPr bwMode="gray">
          <a:xfrm flipH="1">
            <a:off x="8245107" y="4198939"/>
            <a:ext cx="630159" cy="464412"/>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049BBB0-ACF8-41A1-A052-9C4A240B9D71}"/>
              </a:ext>
            </a:extLst>
          </p:cNvPr>
          <p:cNvCxnSpPr>
            <a:cxnSpLocks/>
            <a:stCxn id="35" idx="4"/>
            <a:endCxn id="24" idx="2"/>
          </p:cNvCxnSpPr>
          <p:nvPr/>
        </p:nvCxnSpPr>
        <p:spPr bwMode="gray">
          <a:xfrm flipH="1" flipV="1">
            <a:off x="8245107" y="2843385"/>
            <a:ext cx="630159" cy="535907"/>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9CBE5B6-5FD3-439E-9359-EF054894AC3E}"/>
              </a:ext>
            </a:extLst>
          </p:cNvPr>
          <p:cNvCxnSpPr>
            <a:cxnSpLocks/>
            <a:stCxn id="25" idx="0"/>
            <a:endCxn id="35" idx="1"/>
          </p:cNvCxnSpPr>
          <p:nvPr/>
        </p:nvCxnSpPr>
        <p:spPr bwMode="gray">
          <a:xfrm flipH="1" flipV="1">
            <a:off x="9389269" y="4198939"/>
            <a:ext cx="562711" cy="462842"/>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35" name="Hexagon 34">
            <a:extLst>
              <a:ext uri="{FF2B5EF4-FFF2-40B4-BE49-F238E27FC236}">
                <a16:creationId xmlns:a16="http://schemas.microsoft.com/office/drawing/2014/main" id="{91AEA95E-ED88-4F70-BB3F-C6D6CEB1E2D1}"/>
              </a:ext>
            </a:extLst>
          </p:cNvPr>
          <p:cNvSpPr/>
          <p:nvPr/>
        </p:nvSpPr>
        <p:spPr bwMode="gray">
          <a:xfrm>
            <a:off x="8670354" y="3379292"/>
            <a:ext cx="923827" cy="819647"/>
          </a:xfrm>
          <a:prstGeom prst="hexagon">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t>Data</a:t>
            </a:r>
          </a:p>
        </p:txBody>
      </p:sp>
      <p:cxnSp>
        <p:nvCxnSpPr>
          <p:cNvPr id="36" name="Straight Connector 35">
            <a:extLst>
              <a:ext uri="{FF2B5EF4-FFF2-40B4-BE49-F238E27FC236}">
                <a16:creationId xmlns:a16="http://schemas.microsoft.com/office/drawing/2014/main" id="{C4AD39C9-57B1-4DC2-92D4-CA94D3635F67}"/>
              </a:ext>
            </a:extLst>
          </p:cNvPr>
          <p:cNvCxnSpPr>
            <a:cxnSpLocks/>
            <a:stCxn id="35" idx="3"/>
            <a:endCxn id="26" idx="3"/>
          </p:cNvCxnSpPr>
          <p:nvPr/>
        </p:nvCxnSpPr>
        <p:spPr bwMode="gray">
          <a:xfrm flipH="1" flipV="1">
            <a:off x="8040446" y="3786362"/>
            <a:ext cx="629908" cy="2754"/>
          </a:xfrm>
          <a:prstGeom prst="line">
            <a:avLst/>
          </a:prstGeom>
          <a:ln w="19050">
            <a:solidFill>
              <a:srgbClr val="979D9D"/>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C12EA9E2-2220-47F0-9AFE-DBF4A48A2264}"/>
              </a:ext>
            </a:extLst>
          </p:cNvPr>
          <p:cNvSpPr txBox="1"/>
          <p:nvPr/>
        </p:nvSpPr>
        <p:spPr bwMode="gray">
          <a:xfrm flipH="1">
            <a:off x="1555453" y="5499891"/>
            <a:ext cx="2945424" cy="369332"/>
          </a:xfrm>
          <a:prstGeom prst="rect">
            <a:avLst/>
          </a:prstGeom>
          <a:noFill/>
        </p:spPr>
        <p:txBody>
          <a:bodyPr wrap="square" lIns="0" rtlCol="0">
            <a:spAutoFit/>
          </a:bodyPr>
          <a:lstStyle/>
          <a:p>
            <a:pPr algn="ctr"/>
            <a:r>
              <a:rPr lang="en-US" b="1">
                <a:solidFill>
                  <a:schemeClr val="accent5"/>
                </a:solidFill>
                <a:latin typeface="+mj-lt"/>
              </a:rPr>
              <a:t>Decentralized</a:t>
            </a:r>
          </a:p>
        </p:txBody>
      </p:sp>
      <p:sp>
        <p:nvSpPr>
          <p:cNvPr id="38" name="TextBox 37">
            <a:extLst>
              <a:ext uri="{FF2B5EF4-FFF2-40B4-BE49-F238E27FC236}">
                <a16:creationId xmlns:a16="http://schemas.microsoft.com/office/drawing/2014/main" id="{298F2654-1F15-45AC-9B49-25041AD64CCD}"/>
              </a:ext>
            </a:extLst>
          </p:cNvPr>
          <p:cNvSpPr txBox="1"/>
          <p:nvPr/>
        </p:nvSpPr>
        <p:spPr bwMode="gray">
          <a:xfrm flipH="1">
            <a:off x="6234111" y="5499891"/>
            <a:ext cx="5499098" cy="369332"/>
          </a:xfrm>
          <a:prstGeom prst="rect">
            <a:avLst/>
          </a:prstGeom>
          <a:noFill/>
        </p:spPr>
        <p:txBody>
          <a:bodyPr wrap="square" lIns="0" rtlCol="0">
            <a:spAutoFit/>
          </a:bodyPr>
          <a:lstStyle/>
          <a:p>
            <a:pPr algn="ctr"/>
            <a:r>
              <a:rPr lang="en-US" b="1">
                <a:solidFill>
                  <a:schemeClr val="accent5"/>
                </a:solidFill>
                <a:latin typeface="+mj-lt"/>
              </a:rPr>
              <a:t>Centralized Data Collection and Reporting</a:t>
            </a:r>
          </a:p>
        </p:txBody>
      </p:sp>
      <p:sp>
        <p:nvSpPr>
          <p:cNvPr id="39" name="Arrow: Chevron 38">
            <a:extLst>
              <a:ext uri="{FF2B5EF4-FFF2-40B4-BE49-F238E27FC236}">
                <a16:creationId xmlns:a16="http://schemas.microsoft.com/office/drawing/2014/main" id="{51B68B92-F2C9-4F3D-9877-12F5E7CA0CE0}"/>
              </a:ext>
            </a:extLst>
          </p:cNvPr>
          <p:cNvSpPr/>
          <p:nvPr/>
        </p:nvSpPr>
        <p:spPr bwMode="gray">
          <a:xfrm>
            <a:off x="5807410" y="2686976"/>
            <a:ext cx="505838" cy="1819966"/>
          </a:xfrm>
          <a:prstGeom prst="chevron">
            <a:avLst>
              <a:gd name="adj" fmla="val 50000"/>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0" name="Rectangle 39">
            <a:extLst>
              <a:ext uri="{FF2B5EF4-FFF2-40B4-BE49-F238E27FC236}">
                <a16:creationId xmlns:a16="http://schemas.microsoft.com/office/drawing/2014/main" id="{1A35C6D2-788F-4382-9243-7061AEACF27D}"/>
              </a:ext>
            </a:extLst>
          </p:cNvPr>
          <p:cNvSpPr/>
          <p:nvPr/>
        </p:nvSpPr>
        <p:spPr bwMode="gray">
          <a:xfrm>
            <a:off x="-794" y="950338"/>
            <a:ext cx="12192000" cy="923330"/>
          </a:xfrm>
          <a:prstGeom prst="rect">
            <a:avLst/>
          </a:prstGeom>
          <a:solidFill>
            <a:srgbClr val="002856"/>
          </a:solidFill>
        </p:spPr>
        <p:txBody>
          <a:bodyPr wrap="square" lIns="45720" rIns="45720" anchor="ctr">
            <a:spAutoFit/>
          </a:bodyPr>
          <a:lstStyle/>
          <a:p>
            <a:pPr algn="ctr"/>
            <a:r>
              <a:rPr lang="en-US" b="1">
                <a:solidFill>
                  <a:srgbClr val="FFFFFF"/>
                </a:solidFill>
                <a:latin typeface="+mj-lt"/>
              </a:rPr>
              <a:t>EOPSS and EOTSS have partnered with Gartner to create a target state and detailed roadmap to guide the creation of a centralized data collection and reporting system for MA Public Safety and Criminal Justice agencies.</a:t>
            </a:r>
          </a:p>
        </p:txBody>
      </p:sp>
      <p:sp>
        <p:nvSpPr>
          <p:cNvPr id="41" name="Title 40">
            <a:extLst>
              <a:ext uri="{FF2B5EF4-FFF2-40B4-BE49-F238E27FC236}">
                <a16:creationId xmlns:a16="http://schemas.microsoft.com/office/drawing/2014/main" id="{37B2D642-FB35-41AA-B261-2DB50646DF01}"/>
              </a:ext>
            </a:extLst>
          </p:cNvPr>
          <p:cNvSpPr>
            <a:spLocks noGrp="1"/>
          </p:cNvSpPr>
          <p:nvPr>
            <p:ph type="title"/>
          </p:nvPr>
        </p:nvSpPr>
        <p:spPr/>
        <p:txBody>
          <a:bodyPr/>
          <a:lstStyle/>
          <a:p>
            <a:r>
              <a:rPr lang="en-US" dirty="0"/>
              <a:t>Gartner Engagement Background</a:t>
            </a:r>
          </a:p>
        </p:txBody>
      </p:sp>
    </p:spTree>
    <p:extLst>
      <p:ext uri="{BB962C8B-B14F-4D97-AF65-F5344CB8AC3E}">
        <p14:creationId xmlns:p14="http://schemas.microsoft.com/office/powerpoint/2010/main" val="3827943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B2D5-0444-40EC-90D2-046BDA4067F1}"/>
              </a:ext>
            </a:extLst>
          </p:cNvPr>
          <p:cNvSpPr>
            <a:spLocks noGrp="1"/>
          </p:cNvSpPr>
          <p:nvPr>
            <p:ph type="title"/>
          </p:nvPr>
        </p:nvSpPr>
        <p:spPr/>
        <p:txBody>
          <a:bodyPr/>
          <a:lstStyle/>
          <a:p>
            <a:r>
              <a:rPr lang="en-US"/>
              <a:t>Gartner Engagement Goals</a:t>
            </a:r>
          </a:p>
        </p:txBody>
      </p:sp>
      <p:grpSp>
        <p:nvGrpSpPr>
          <p:cNvPr id="32" name="Group 31">
            <a:extLst>
              <a:ext uri="{FF2B5EF4-FFF2-40B4-BE49-F238E27FC236}">
                <a16:creationId xmlns:a16="http://schemas.microsoft.com/office/drawing/2014/main" id="{35F2D66D-122B-4E0C-A709-0DB5E5B85167}"/>
              </a:ext>
            </a:extLst>
          </p:cNvPr>
          <p:cNvGrpSpPr/>
          <p:nvPr/>
        </p:nvGrpSpPr>
        <p:grpSpPr>
          <a:xfrm>
            <a:off x="433590" y="1172719"/>
            <a:ext cx="11180203" cy="819756"/>
            <a:chOff x="433590" y="1172719"/>
            <a:chExt cx="11180203" cy="819756"/>
          </a:xfrm>
        </p:grpSpPr>
        <p:sp>
          <p:nvSpPr>
            <p:cNvPr id="4" name="Rectangle 3">
              <a:extLst>
                <a:ext uri="{FF2B5EF4-FFF2-40B4-BE49-F238E27FC236}">
                  <a16:creationId xmlns:a16="http://schemas.microsoft.com/office/drawing/2014/main" id="{7067EEF2-93E4-4578-A8C4-163602BBAFA2}"/>
                </a:ext>
              </a:extLst>
            </p:cNvPr>
            <p:cNvSpPr/>
            <p:nvPr/>
          </p:nvSpPr>
          <p:spPr bwMode="gray">
            <a:xfrm>
              <a:off x="567240" y="1172719"/>
              <a:ext cx="9302623" cy="457200"/>
            </a:xfrm>
            <a:prstGeom prst="rect">
              <a:avLst/>
            </a:prstGeom>
            <a:noFill/>
            <a:ln w="9525" cap="flat" cmpd="sng" algn="ctr">
              <a:noFill/>
              <a:prstDash val="solid"/>
            </a:ln>
            <a:effectLst/>
          </p:spPr>
          <p:txBody>
            <a:bodyPr lIns="365760" rtlCol="0" anchor="ctr"/>
            <a:lstStyle/>
            <a:p>
              <a:pPr>
                <a:spcBef>
                  <a:spcPct val="50000"/>
                </a:spcBef>
                <a:spcAft>
                  <a:spcPct val="0"/>
                </a:spcAft>
                <a:defRPr/>
              </a:pPr>
              <a:r>
                <a:rPr lang="en-US" b="1" kern="0">
                  <a:solidFill>
                    <a:schemeClr val="tx2"/>
                  </a:solidFill>
                  <a:latin typeface="+mj-lt"/>
                  <a:ea typeface="Arial Unicode MS"/>
                  <a:cs typeface="Arial Unicode MS"/>
                </a:rPr>
                <a:t>Baseline and understand current data sources and processes </a:t>
              </a:r>
            </a:p>
          </p:txBody>
        </p:sp>
        <p:sp>
          <p:nvSpPr>
            <p:cNvPr id="5" name="Isosceles Triangle 4">
              <a:extLst>
                <a:ext uri="{FF2B5EF4-FFF2-40B4-BE49-F238E27FC236}">
                  <a16:creationId xmlns:a16="http://schemas.microsoft.com/office/drawing/2014/main" id="{C1241B7A-B872-4C23-B905-484753557016}"/>
                </a:ext>
              </a:extLst>
            </p:cNvPr>
            <p:cNvSpPr/>
            <p:nvPr/>
          </p:nvSpPr>
          <p:spPr bwMode="gray">
            <a:xfrm rot="2700000" flipV="1">
              <a:off x="435894" y="1262413"/>
              <a:ext cx="273205" cy="277813"/>
            </a:xfrm>
            <a:prstGeom prst="triangle">
              <a:avLst>
                <a:gd name="adj" fmla="val 100000"/>
              </a:avLst>
            </a:prstGeom>
            <a:solidFill>
              <a:schemeClr val="accent1"/>
            </a:solidFill>
            <a:ln w="9525" cap="flat" cmpd="sng" algn="ctr">
              <a:noFill/>
              <a:prstDash val="solid"/>
            </a:ln>
            <a:effectLst/>
          </p:spPr>
          <p:txBody>
            <a:bodyPr rtlCol="0" anchor="ctr"/>
            <a:lstStyle/>
            <a:p>
              <a:pPr>
                <a:spcBef>
                  <a:spcPct val="50000"/>
                </a:spcBef>
                <a:spcAft>
                  <a:spcPct val="0"/>
                </a:spcAft>
                <a:defRPr/>
              </a:pPr>
              <a:endParaRPr lang="en-US" sz="1600" kern="0">
                <a:solidFill>
                  <a:srgbClr val="000000"/>
                </a:solidFill>
                <a:latin typeface="Arial"/>
                <a:ea typeface="Arial Unicode MS"/>
                <a:cs typeface="Arial Unicode MS"/>
              </a:endParaRPr>
            </a:p>
          </p:txBody>
        </p:sp>
        <p:sp>
          <p:nvSpPr>
            <p:cNvPr id="18" name="Rectangle 17">
              <a:extLst>
                <a:ext uri="{FF2B5EF4-FFF2-40B4-BE49-F238E27FC236}">
                  <a16:creationId xmlns:a16="http://schemas.microsoft.com/office/drawing/2014/main" id="{CD518DA6-03C5-44D0-8600-6250AAE74DB5}"/>
                </a:ext>
              </a:extLst>
            </p:cNvPr>
            <p:cNvSpPr/>
            <p:nvPr/>
          </p:nvSpPr>
          <p:spPr>
            <a:xfrm>
              <a:off x="955096" y="1686588"/>
              <a:ext cx="10658697" cy="305887"/>
            </a:xfrm>
            <a:prstGeom prst="rect">
              <a:avLst/>
            </a:prstGeom>
          </p:spPr>
          <p:txBody>
            <a:bodyPr>
              <a:noAutofit/>
            </a:bodyPr>
            <a:lstStyle/>
            <a:p>
              <a:pPr marL="285750" indent="-285750">
                <a:spcAft>
                  <a:spcPts val="600"/>
                </a:spcAft>
                <a:buFont typeface="Wingdings" panose="05000000000000000000" pitchFamily="2" charset="2"/>
                <a:buChar char="§"/>
              </a:pPr>
              <a:r>
                <a:rPr lang="en-US" sz="1400"/>
                <a:t>Begin building a common data taxonomy and understanding of how to consolidate data from disparate sources </a:t>
              </a:r>
            </a:p>
          </p:txBody>
        </p:sp>
      </p:grpSp>
      <p:grpSp>
        <p:nvGrpSpPr>
          <p:cNvPr id="31" name="Group 30">
            <a:extLst>
              <a:ext uri="{FF2B5EF4-FFF2-40B4-BE49-F238E27FC236}">
                <a16:creationId xmlns:a16="http://schemas.microsoft.com/office/drawing/2014/main" id="{1501F99D-A7E4-4E95-BD6C-8E009C344A8A}"/>
              </a:ext>
            </a:extLst>
          </p:cNvPr>
          <p:cNvGrpSpPr/>
          <p:nvPr/>
        </p:nvGrpSpPr>
        <p:grpSpPr>
          <a:xfrm>
            <a:off x="433590" y="2151334"/>
            <a:ext cx="10908946" cy="784284"/>
            <a:chOff x="433590" y="2101206"/>
            <a:chExt cx="10908946" cy="784284"/>
          </a:xfrm>
        </p:grpSpPr>
        <p:sp>
          <p:nvSpPr>
            <p:cNvPr id="7" name="Rectangle 6">
              <a:extLst>
                <a:ext uri="{FF2B5EF4-FFF2-40B4-BE49-F238E27FC236}">
                  <a16:creationId xmlns:a16="http://schemas.microsoft.com/office/drawing/2014/main" id="{58B9509D-69F0-454A-A282-4B0EF346A7C8}"/>
                </a:ext>
              </a:extLst>
            </p:cNvPr>
            <p:cNvSpPr/>
            <p:nvPr/>
          </p:nvSpPr>
          <p:spPr bwMode="gray">
            <a:xfrm>
              <a:off x="567241" y="2101206"/>
              <a:ext cx="10775295" cy="457200"/>
            </a:xfrm>
            <a:prstGeom prst="rect">
              <a:avLst/>
            </a:prstGeom>
            <a:solidFill>
              <a:schemeClr val="bg1"/>
            </a:solidFill>
            <a:ln w="9525" cap="flat" cmpd="sng" algn="ctr">
              <a:noFill/>
              <a:prstDash val="solid"/>
            </a:ln>
            <a:effectLst/>
          </p:spPr>
          <p:txBody>
            <a:bodyPr lIns="365760" rtlCol="0" anchor="ctr"/>
            <a:lstStyle/>
            <a:p>
              <a:pPr>
                <a:spcBef>
                  <a:spcPct val="50000"/>
                </a:spcBef>
                <a:spcAft>
                  <a:spcPct val="0"/>
                </a:spcAft>
                <a:defRPr/>
              </a:pPr>
              <a:r>
                <a:rPr lang="en-US" b="1" kern="0">
                  <a:solidFill>
                    <a:schemeClr val="tx2"/>
                  </a:solidFill>
                  <a:latin typeface="+mj-lt"/>
                  <a:ea typeface="Arial Unicode MS"/>
                  <a:cs typeface="Arial Unicode MS"/>
                </a:rPr>
                <a:t>Determine agency readiness for enterprise data collection and reporting</a:t>
              </a:r>
            </a:p>
          </p:txBody>
        </p:sp>
        <p:sp>
          <p:nvSpPr>
            <p:cNvPr id="8" name="Isosceles Triangle 7">
              <a:extLst>
                <a:ext uri="{FF2B5EF4-FFF2-40B4-BE49-F238E27FC236}">
                  <a16:creationId xmlns:a16="http://schemas.microsoft.com/office/drawing/2014/main" id="{97AA9E6B-28B1-49E4-B6D2-0A1FD5E94D28}"/>
                </a:ext>
              </a:extLst>
            </p:cNvPr>
            <p:cNvSpPr/>
            <p:nvPr/>
          </p:nvSpPr>
          <p:spPr bwMode="gray">
            <a:xfrm rot="2700000" flipV="1">
              <a:off x="435894" y="2190900"/>
              <a:ext cx="273205" cy="277813"/>
            </a:xfrm>
            <a:prstGeom prst="triangle">
              <a:avLst>
                <a:gd name="adj" fmla="val 100000"/>
              </a:avLst>
            </a:prstGeom>
            <a:solidFill>
              <a:schemeClr val="accent1"/>
            </a:solidFill>
            <a:ln w="9525" cap="flat" cmpd="sng" algn="ctr">
              <a:noFill/>
              <a:prstDash val="solid"/>
            </a:ln>
            <a:effectLst/>
          </p:spPr>
          <p:txBody>
            <a:bodyPr rtlCol="0" anchor="ctr"/>
            <a:lstStyle/>
            <a:p>
              <a:pPr>
                <a:spcBef>
                  <a:spcPct val="50000"/>
                </a:spcBef>
                <a:spcAft>
                  <a:spcPct val="0"/>
                </a:spcAft>
                <a:defRPr/>
              </a:pPr>
              <a:endParaRPr lang="en-US" sz="1600" kern="0">
                <a:solidFill>
                  <a:srgbClr val="000000"/>
                </a:solidFill>
                <a:latin typeface="Arial"/>
                <a:ea typeface="Arial Unicode MS"/>
                <a:cs typeface="Arial Unicode MS"/>
              </a:endParaRPr>
            </a:p>
          </p:txBody>
        </p:sp>
        <p:sp>
          <p:nvSpPr>
            <p:cNvPr id="19" name="Rectangle 18">
              <a:extLst>
                <a:ext uri="{FF2B5EF4-FFF2-40B4-BE49-F238E27FC236}">
                  <a16:creationId xmlns:a16="http://schemas.microsoft.com/office/drawing/2014/main" id="{037089ED-852F-41F2-AAEB-980ADBFC639F}"/>
                </a:ext>
              </a:extLst>
            </p:cNvPr>
            <p:cNvSpPr/>
            <p:nvPr/>
          </p:nvSpPr>
          <p:spPr>
            <a:xfrm>
              <a:off x="955096" y="2577713"/>
              <a:ext cx="6096000" cy="307777"/>
            </a:xfrm>
            <a:prstGeom prst="rect">
              <a:avLst/>
            </a:prstGeom>
          </p:spPr>
          <p:txBody>
            <a:bodyPr>
              <a:noAutofit/>
            </a:bodyPr>
            <a:lstStyle/>
            <a:p>
              <a:pPr marL="285750" indent="-285750">
                <a:buFont typeface="Wingdings" panose="05000000000000000000" pitchFamily="2" charset="2"/>
                <a:buChar char="§"/>
              </a:pPr>
              <a:r>
                <a:rPr lang="en-US" sz="1400"/>
                <a:t>Obtain early commitment for participation in centralized data sharing</a:t>
              </a:r>
            </a:p>
          </p:txBody>
        </p:sp>
      </p:grpSp>
      <p:grpSp>
        <p:nvGrpSpPr>
          <p:cNvPr id="30" name="Group 29">
            <a:extLst>
              <a:ext uri="{FF2B5EF4-FFF2-40B4-BE49-F238E27FC236}">
                <a16:creationId xmlns:a16="http://schemas.microsoft.com/office/drawing/2014/main" id="{DCE86214-298C-4A3C-8F20-DD3A9C962461}"/>
              </a:ext>
            </a:extLst>
          </p:cNvPr>
          <p:cNvGrpSpPr/>
          <p:nvPr/>
        </p:nvGrpSpPr>
        <p:grpSpPr>
          <a:xfrm>
            <a:off x="433590" y="3094477"/>
            <a:ext cx="10502186" cy="904205"/>
            <a:chOff x="433590" y="3063415"/>
            <a:chExt cx="10502186" cy="904205"/>
          </a:xfrm>
        </p:grpSpPr>
        <p:sp>
          <p:nvSpPr>
            <p:cNvPr id="10" name="Rectangle 9">
              <a:extLst>
                <a:ext uri="{FF2B5EF4-FFF2-40B4-BE49-F238E27FC236}">
                  <a16:creationId xmlns:a16="http://schemas.microsoft.com/office/drawing/2014/main" id="{53BFA1F9-3926-46B2-9103-8084A4C1BE36}"/>
                </a:ext>
              </a:extLst>
            </p:cNvPr>
            <p:cNvSpPr/>
            <p:nvPr/>
          </p:nvSpPr>
          <p:spPr bwMode="gray">
            <a:xfrm>
              <a:off x="567241" y="3063415"/>
              <a:ext cx="10368535" cy="457200"/>
            </a:xfrm>
            <a:prstGeom prst="rect">
              <a:avLst/>
            </a:prstGeom>
            <a:noFill/>
            <a:ln w="9525" cap="flat" cmpd="sng" algn="ctr">
              <a:noFill/>
              <a:prstDash val="solid"/>
            </a:ln>
            <a:effectLst/>
          </p:spPr>
          <p:txBody>
            <a:bodyPr lIns="365760" rtlCol="0" anchor="ctr"/>
            <a:lstStyle/>
            <a:p>
              <a:pPr>
                <a:spcBef>
                  <a:spcPct val="50000"/>
                </a:spcBef>
                <a:spcAft>
                  <a:spcPct val="0"/>
                </a:spcAft>
                <a:defRPr/>
              </a:pPr>
              <a:r>
                <a:rPr lang="en-US" b="1" kern="0">
                  <a:solidFill>
                    <a:schemeClr val="tx2"/>
                  </a:solidFill>
                  <a:latin typeface="+mj-lt"/>
                  <a:ea typeface="Arial Unicode MS"/>
                  <a:cs typeface="Arial Unicode MS"/>
                </a:rPr>
                <a:t>Create a target state design for centralized data collection</a:t>
              </a:r>
            </a:p>
          </p:txBody>
        </p:sp>
        <p:sp>
          <p:nvSpPr>
            <p:cNvPr id="11" name="Isosceles Triangle 10">
              <a:extLst>
                <a:ext uri="{FF2B5EF4-FFF2-40B4-BE49-F238E27FC236}">
                  <a16:creationId xmlns:a16="http://schemas.microsoft.com/office/drawing/2014/main" id="{AC48EF90-512D-4121-BC3E-C0F46C9F3D37}"/>
                </a:ext>
              </a:extLst>
            </p:cNvPr>
            <p:cNvSpPr/>
            <p:nvPr/>
          </p:nvSpPr>
          <p:spPr bwMode="gray">
            <a:xfrm rot="2700000" flipV="1">
              <a:off x="435894" y="3153109"/>
              <a:ext cx="273205" cy="277813"/>
            </a:xfrm>
            <a:prstGeom prst="triangle">
              <a:avLst>
                <a:gd name="adj" fmla="val 100000"/>
              </a:avLst>
            </a:prstGeom>
            <a:solidFill>
              <a:schemeClr val="accent1"/>
            </a:solidFill>
            <a:ln w="9525" cap="flat" cmpd="sng" algn="ctr">
              <a:noFill/>
              <a:prstDash val="solid"/>
            </a:ln>
            <a:effectLst/>
          </p:spPr>
          <p:txBody>
            <a:bodyPr rtlCol="0" anchor="ctr"/>
            <a:lstStyle/>
            <a:p>
              <a:pPr>
                <a:spcBef>
                  <a:spcPct val="50000"/>
                </a:spcBef>
                <a:spcAft>
                  <a:spcPct val="0"/>
                </a:spcAft>
                <a:defRPr/>
              </a:pPr>
              <a:endParaRPr lang="en-US" sz="1600" kern="0">
                <a:solidFill>
                  <a:srgbClr val="000000"/>
                </a:solidFill>
                <a:latin typeface="Arial"/>
                <a:ea typeface="Arial Unicode MS"/>
                <a:cs typeface="Arial Unicode MS"/>
              </a:endParaRPr>
            </a:p>
          </p:txBody>
        </p:sp>
        <p:sp>
          <p:nvSpPr>
            <p:cNvPr id="20" name="Rectangle 19">
              <a:extLst>
                <a:ext uri="{FF2B5EF4-FFF2-40B4-BE49-F238E27FC236}">
                  <a16:creationId xmlns:a16="http://schemas.microsoft.com/office/drawing/2014/main" id="{DABA2E15-EB6A-4DD5-9780-5ECD4D671DA3}"/>
                </a:ext>
              </a:extLst>
            </p:cNvPr>
            <p:cNvSpPr/>
            <p:nvPr/>
          </p:nvSpPr>
          <p:spPr>
            <a:xfrm>
              <a:off x="955096" y="3656914"/>
              <a:ext cx="8277533" cy="310706"/>
            </a:xfrm>
            <a:prstGeom prst="rect">
              <a:avLst/>
            </a:prstGeom>
          </p:spPr>
          <p:txBody>
            <a:bodyPr>
              <a:noAutofit/>
            </a:bodyPr>
            <a:lstStyle/>
            <a:p>
              <a:pPr marL="285750" indent="-285750">
                <a:spcAft>
                  <a:spcPts val="600"/>
                </a:spcAft>
                <a:buFont typeface="Wingdings" panose="05000000000000000000" pitchFamily="2" charset="2"/>
                <a:buChar char="§"/>
              </a:pPr>
              <a:r>
                <a:rPr lang="en-US" sz="1400"/>
                <a:t>Describe the foundational data management and architecture components of the proposed system </a:t>
              </a:r>
            </a:p>
          </p:txBody>
        </p:sp>
      </p:grpSp>
      <p:grpSp>
        <p:nvGrpSpPr>
          <p:cNvPr id="29" name="Group 28">
            <a:extLst>
              <a:ext uri="{FF2B5EF4-FFF2-40B4-BE49-F238E27FC236}">
                <a16:creationId xmlns:a16="http://schemas.microsoft.com/office/drawing/2014/main" id="{97895BB6-64FE-425D-B1A0-A08035820ACA}"/>
              </a:ext>
            </a:extLst>
          </p:cNvPr>
          <p:cNvGrpSpPr/>
          <p:nvPr/>
        </p:nvGrpSpPr>
        <p:grpSpPr>
          <a:xfrm>
            <a:off x="433590" y="4157541"/>
            <a:ext cx="10521306" cy="880399"/>
            <a:chOff x="433590" y="4126831"/>
            <a:chExt cx="10521306" cy="880399"/>
          </a:xfrm>
        </p:grpSpPr>
        <p:sp>
          <p:nvSpPr>
            <p:cNvPr id="13" name="Rectangle 12">
              <a:extLst>
                <a:ext uri="{FF2B5EF4-FFF2-40B4-BE49-F238E27FC236}">
                  <a16:creationId xmlns:a16="http://schemas.microsoft.com/office/drawing/2014/main" id="{D51181F1-B1D9-4DB3-B4F8-F68DA7E3A810}"/>
                </a:ext>
              </a:extLst>
            </p:cNvPr>
            <p:cNvSpPr/>
            <p:nvPr/>
          </p:nvSpPr>
          <p:spPr bwMode="gray">
            <a:xfrm>
              <a:off x="567241" y="4126831"/>
              <a:ext cx="8040247" cy="457200"/>
            </a:xfrm>
            <a:prstGeom prst="rect">
              <a:avLst/>
            </a:prstGeom>
            <a:noFill/>
            <a:ln w="9525" cap="flat" cmpd="sng" algn="ctr">
              <a:noFill/>
              <a:prstDash val="solid"/>
            </a:ln>
            <a:effectLst/>
          </p:spPr>
          <p:txBody>
            <a:bodyPr lIns="365760" rtlCol="0" anchor="ctr"/>
            <a:lstStyle/>
            <a:p>
              <a:pPr>
                <a:spcBef>
                  <a:spcPct val="50000"/>
                </a:spcBef>
                <a:spcAft>
                  <a:spcPct val="0"/>
                </a:spcAft>
                <a:defRPr/>
              </a:pPr>
              <a:r>
                <a:rPr lang="en-US" b="1" kern="0">
                  <a:solidFill>
                    <a:schemeClr val="tx2"/>
                  </a:solidFill>
                  <a:latin typeface="+mj-lt"/>
                  <a:ea typeface="Arial Unicode MS"/>
                  <a:cs typeface="Arial Unicode MS"/>
                </a:rPr>
                <a:t>Define a small and meaningful proof of concept </a:t>
              </a:r>
            </a:p>
          </p:txBody>
        </p:sp>
        <p:sp>
          <p:nvSpPr>
            <p:cNvPr id="14" name="Isosceles Triangle 13">
              <a:extLst>
                <a:ext uri="{FF2B5EF4-FFF2-40B4-BE49-F238E27FC236}">
                  <a16:creationId xmlns:a16="http://schemas.microsoft.com/office/drawing/2014/main" id="{DADFDC00-13F5-4F4D-A1B1-86F3DECE0E95}"/>
                </a:ext>
              </a:extLst>
            </p:cNvPr>
            <p:cNvSpPr/>
            <p:nvPr/>
          </p:nvSpPr>
          <p:spPr bwMode="gray">
            <a:xfrm rot="2700000" flipV="1">
              <a:off x="435894" y="4216525"/>
              <a:ext cx="273205" cy="277813"/>
            </a:xfrm>
            <a:prstGeom prst="triangle">
              <a:avLst>
                <a:gd name="adj" fmla="val 100000"/>
              </a:avLst>
            </a:prstGeom>
            <a:solidFill>
              <a:schemeClr val="accent1"/>
            </a:solidFill>
            <a:ln w="9525" cap="flat" cmpd="sng" algn="ctr">
              <a:noFill/>
              <a:prstDash val="solid"/>
            </a:ln>
            <a:effectLst/>
          </p:spPr>
          <p:txBody>
            <a:bodyPr rtlCol="0" anchor="ctr"/>
            <a:lstStyle/>
            <a:p>
              <a:pPr>
                <a:spcBef>
                  <a:spcPct val="50000"/>
                </a:spcBef>
                <a:spcAft>
                  <a:spcPct val="0"/>
                </a:spcAft>
                <a:defRPr/>
              </a:pPr>
              <a:endParaRPr lang="en-US" sz="1600" kern="0">
                <a:solidFill>
                  <a:srgbClr val="000000"/>
                </a:solidFill>
                <a:latin typeface="Arial"/>
                <a:ea typeface="Arial Unicode MS"/>
                <a:cs typeface="Arial Unicode MS"/>
              </a:endParaRPr>
            </a:p>
          </p:txBody>
        </p:sp>
        <p:sp>
          <p:nvSpPr>
            <p:cNvPr id="21" name="Rectangle 20">
              <a:extLst>
                <a:ext uri="{FF2B5EF4-FFF2-40B4-BE49-F238E27FC236}">
                  <a16:creationId xmlns:a16="http://schemas.microsoft.com/office/drawing/2014/main" id="{D37123B2-3940-40C9-B2AF-5F3957B3A50F}"/>
                </a:ext>
              </a:extLst>
            </p:cNvPr>
            <p:cNvSpPr/>
            <p:nvPr/>
          </p:nvSpPr>
          <p:spPr>
            <a:xfrm>
              <a:off x="955096" y="4696524"/>
              <a:ext cx="9999800" cy="310706"/>
            </a:xfrm>
            <a:prstGeom prst="rect">
              <a:avLst/>
            </a:prstGeom>
          </p:spPr>
          <p:txBody>
            <a:bodyPr wrap="square">
              <a:noAutofit/>
            </a:bodyPr>
            <a:lstStyle/>
            <a:p>
              <a:pPr marL="285750" indent="-285750">
                <a:spcAft>
                  <a:spcPts val="600"/>
                </a:spcAft>
                <a:buFont typeface="Wingdings" panose="05000000000000000000" pitchFamily="2" charset="2"/>
                <a:buChar char="§"/>
              </a:pPr>
              <a:r>
                <a:rPr lang="en-US" sz="1400"/>
                <a:t>Identify a quick win opportunity to demonstrate value to stakeholders and test capabilities of the target state architecture </a:t>
              </a:r>
            </a:p>
          </p:txBody>
        </p:sp>
      </p:grpSp>
      <p:grpSp>
        <p:nvGrpSpPr>
          <p:cNvPr id="28" name="Group 27">
            <a:extLst>
              <a:ext uri="{FF2B5EF4-FFF2-40B4-BE49-F238E27FC236}">
                <a16:creationId xmlns:a16="http://schemas.microsoft.com/office/drawing/2014/main" id="{03A1DDEF-42A8-48C7-919A-289F05C76551}"/>
              </a:ext>
            </a:extLst>
          </p:cNvPr>
          <p:cNvGrpSpPr/>
          <p:nvPr/>
        </p:nvGrpSpPr>
        <p:grpSpPr>
          <a:xfrm>
            <a:off x="433590" y="5196799"/>
            <a:ext cx="9087302" cy="804633"/>
            <a:chOff x="433590" y="5196799"/>
            <a:chExt cx="9087302" cy="804633"/>
          </a:xfrm>
        </p:grpSpPr>
        <p:sp>
          <p:nvSpPr>
            <p:cNvPr id="16" name="Rectangle 15">
              <a:extLst>
                <a:ext uri="{FF2B5EF4-FFF2-40B4-BE49-F238E27FC236}">
                  <a16:creationId xmlns:a16="http://schemas.microsoft.com/office/drawing/2014/main" id="{A755A606-D902-46B0-AE39-EF0EA4439496}"/>
                </a:ext>
              </a:extLst>
            </p:cNvPr>
            <p:cNvSpPr/>
            <p:nvPr/>
          </p:nvSpPr>
          <p:spPr bwMode="gray">
            <a:xfrm>
              <a:off x="567241" y="5196799"/>
              <a:ext cx="8953651" cy="457200"/>
            </a:xfrm>
            <a:prstGeom prst="rect">
              <a:avLst/>
            </a:prstGeom>
            <a:noFill/>
            <a:ln w="9525" cap="flat" cmpd="sng" algn="ctr">
              <a:noFill/>
              <a:prstDash val="solid"/>
            </a:ln>
            <a:effectLst/>
          </p:spPr>
          <p:txBody>
            <a:bodyPr lIns="365760" rtlCol="0" anchor="ctr"/>
            <a:lstStyle/>
            <a:p>
              <a:pPr>
                <a:spcBef>
                  <a:spcPct val="50000"/>
                </a:spcBef>
                <a:spcAft>
                  <a:spcPct val="0"/>
                </a:spcAft>
                <a:defRPr/>
              </a:pPr>
              <a:r>
                <a:rPr lang="en-US" b="1" kern="0">
                  <a:solidFill>
                    <a:schemeClr val="tx2"/>
                  </a:solidFill>
                  <a:latin typeface="+mj-lt"/>
                  <a:ea typeface="Arial Unicode MS"/>
                  <a:cs typeface="Arial Unicode MS"/>
                </a:rPr>
                <a:t>Develop a detailed roadmap and implementation plan </a:t>
              </a:r>
            </a:p>
          </p:txBody>
        </p:sp>
        <p:sp>
          <p:nvSpPr>
            <p:cNvPr id="17" name="Isosceles Triangle 16">
              <a:extLst>
                <a:ext uri="{FF2B5EF4-FFF2-40B4-BE49-F238E27FC236}">
                  <a16:creationId xmlns:a16="http://schemas.microsoft.com/office/drawing/2014/main" id="{6EEF2F64-32E3-4446-85ED-A832B4E955B5}"/>
                </a:ext>
              </a:extLst>
            </p:cNvPr>
            <p:cNvSpPr/>
            <p:nvPr/>
          </p:nvSpPr>
          <p:spPr bwMode="gray">
            <a:xfrm rot="2700000" flipV="1">
              <a:off x="435894" y="5286493"/>
              <a:ext cx="273205" cy="277813"/>
            </a:xfrm>
            <a:prstGeom prst="triangle">
              <a:avLst>
                <a:gd name="adj" fmla="val 100000"/>
              </a:avLst>
            </a:prstGeom>
            <a:solidFill>
              <a:schemeClr val="accent1"/>
            </a:solidFill>
            <a:ln w="9525" cap="flat" cmpd="sng" algn="ctr">
              <a:noFill/>
              <a:prstDash val="solid"/>
            </a:ln>
            <a:effectLst/>
          </p:spPr>
          <p:txBody>
            <a:bodyPr rtlCol="0" anchor="ctr"/>
            <a:lstStyle/>
            <a:p>
              <a:pPr>
                <a:spcBef>
                  <a:spcPct val="50000"/>
                </a:spcBef>
                <a:spcAft>
                  <a:spcPct val="0"/>
                </a:spcAft>
                <a:defRPr/>
              </a:pPr>
              <a:endParaRPr lang="en-US" sz="1600" kern="0">
                <a:solidFill>
                  <a:srgbClr val="000000"/>
                </a:solidFill>
                <a:latin typeface="Arial"/>
                <a:ea typeface="Arial Unicode MS"/>
                <a:cs typeface="Arial Unicode MS"/>
              </a:endParaRPr>
            </a:p>
          </p:txBody>
        </p:sp>
        <p:sp>
          <p:nvSpPr>
            <p:cNvPr id="22" name="Rectangle 21">
              <a:extLst>
                <a:ext uri="{FF2B5EF4-FFF2-40B4-BE49-F238E27FC236}">
                  <a16:creationId xmlns:a16="http://schemas.microsoft.com/office/drawing/2014/main" id="{8BF91800-D13F-461E-A44D-38B1E6E23008}"/>
                </a:ext>
              </a:extLst>
            </p:cNvPr>
            <p:cNvSpPr/>
            <p:nvPr/>
          </p:nvSpPr>
          <p:spPr>
            <a:xfrm>
              <a:off x="955096" y="5693655"/>
              <a:ext cx="6096000" cy="307777"/>
            </a:xfrm>
            <a:prstGeom prst="rect">
              <a:avLst/>
            </a:prstGeom>
          </p:spPr>
          <p:txBody>
            <a:bodyPr>
              <a:noAutofit/>
            </a:bodyPr>
            <a:lstStyle/>
            <a:p>
              <a:pPr marL="285750" indent="-285750">
                <a:buFont typeface="Wingdings" panose="05000000000000000000" pitchFamily="2" charset="2"/>
                <a:buChar char="§"/>
              </a:pPr>
              <a:r>
                <a:rPr lang="en-US" sz="1400"/>
                <a:t>Prioritize the steps required to achieve the target state design</a:t>
              </a:r>
            </a:p>
          </p:txBody>
        </p:sp>
      </p:grpSp>
      <p:sp>
        <p:nvSpPr>
          <p:cNvPr id="23" name="Freeform 40">
            <a:extLst>
              <a:ext uri="{FF2B5EF4-FFF2-40B4-BE49-F238E27FC236}">
                <a16:creationId xmlns:a16="http://schemas.microsoft.com/office/drawing/2014/main" id="{B474E9F2-EE27-4C11-B13D-BB538D290EE5}"/>
              </a:ext>
            </a:extLst>
          </p:cNvPr>
          <p:cNvSpPr>
            <a:spLocks noEditPoints="1"/>
          </p:cNvSpPr>
          <p:nvPr/>
        </p:nvSpPr>
        <p:spPr bwMode="black">
          <a:xfrm>
            <a:off x="6867511" y="729521"/>
            <a:ext cx="5190177" cy="5054419"/>
          </a:xfrm>
          <a:custGeom>
            <a:avLst/>
            <a:gdLst>
              <a:gd name="T0" fmla="*/ 710 w 770"/>
              <a:gd name="T1" fmla="*/ 281 h 673"/>
              <a:gd name="T2" fmla="*/ 680 w 770"/>
              <a:gd name="T3" fmla="*/ 169 h 673"/>
              <a:gd name="T4" fmla="*/ 671 w 770"/>
              <a:gd name="T5" fmla="*/ 72 h 673"/>
              <a:gd name="T6" fmla="*/ 620 w 770"/>
              <a:gd name="T7" fmla="*/ 66 h 673"/>
              <a:gd name="T8" fmla="*/ 146 w 770"/>
              <a:gd name="T9" fmla="*/ 74 h 673"/>
              <a:gd name="T10" fmla="*/ 100 w 770"/>
              <a:gd name="T11" fmla="*/ 79 h 673"/>
              <a:gd name="T12" fmla="*/ 92 w 770"/>
              <a:gd name="T13" fmla="*/ 179 h 673"/>
              <a:gd name="T14" fmla="*/ 58 w 770"/>
              <a:gd name="T15" fmla="*/ 289 h 673"/>
              <a:gd name="T16" fmla="*/ 43 w 770"/>
              <a:gd name="T17" fmla="*/ 432 h 673"/>
              <a:gd name="T18" fmla="*/ 223 w 770"/>
              <a:gd name="T19" fmla="*/ 334 h 673"/>
              <a:gd name="T20" fmla="*/ 182 w 770"/>
              <a:gd name="T21" fmla="*/ 227 h 673"/>
              <a:gd name="T22" fmla="*/ 146 w 770"/>
              <a:gd name="T23" fmla="*/ 118 h 673"/>
              <a:gd name="T24" fmla="*/ 367 w 770"/>
              <a:gd name="T25" fmla="*/ 155 h 673"/>
              <a:gd name="T26" fmla="*/ 228 w 770"/>
              <a:gd name="T27" fmla="*/ 579 h 673"/>
              <a:gd name="T28" fmla="*/ 431 w 770"/>
              <a:gd name="T29" fmla="*/ 542 h 673"/>
              <a:gd name="T30" fmla="*/ 432 w 770"/>
              <a:gd name="T31" fmla="*/ 88 h 673"/>
              <a:gd name="T32" fmla="*/ 617 w 770"/>
              <a:gd name="T33" fmla="*/ 153 h 673"/>
              <a:gd name="T34" fmla="*/ 576 w 770"/>
              <a:gd name="T35" fmla="*/ 260 h 673"/>
              <a:gd name="T36" fmla="*/ 513 w 770"/>
              <a:gd name="T37" fmla="*/ 371 h 673"/>
              <a:gd name="T38" fmla="*/ 130 w 770"/>
              <a:gd name="T39" fmla="*/ 103 h 673"/>
              <a:gd name="T40" fmla="*/ 127 w 770"/>
              <a:gd name="T41" fmla="*/ 276 h 673"/>
              <a:gd name="T42" fmla="*/ 127 w 770"/>
              <a:gd name="T43" fmla="*/ 234 h 673"/>
              <a:gd name="T44" fmla="*/ 131 w 770"/>
              <a:gd name="T45" fmla="*/ 174 h 673"/>
              <a:gd name="T46" fmla="*/ 106 w 770"/>
              <a:gd name="T47" fmla="*/ 140 h 673"/>
              <a:gd name="T48" fmla="*/ 85 w 770"/>
              <a:gd name="T49" fmla="*/ 195 h 673"/>
              <a:gd name="T50" fmla="*/ 68 w 770"/>
              <a:gd name="T51" fmla="*/ 274 h 673"/>
              <a:gd name="T52" fmla="*/ 38 w 770"/>
              <a:gd name="T53" fmla="*/ 347 h 673"/>
              <a:gd name="T54" fmla="*/ 54 w 770"/>
              <a:gd name="T55" fmla="*/ 316 h 673"/>
              <a:gd name="T56" fmla="*/ 88 w 770"/>
              <a:gd name="T57" fmla="*/ 205 h 673"/>
              <a:gd name="T58" fmla="*/ 124 w 770"/>
              <a:gd name="T59" fmla="*/ 102 h 673"/>
              <a:gd name="T60" fmla="*/ 125 w 770"/>
              <a:gd name="T61" fmla="*/ 210 h 673"/>
              <a:gd name="T62" fmla="*/ 125 w 770"/>
              <a:gd name="T63" fmla="*/ 326 h 673"/>
              <a:gd name="T64" fmla="*/ 222 w 770"/>
              <a:gd name="T65" fmla="*/ 338 h 673"/>
              <a:gd name="T66" fmla="*/ 197 w 770"/>
              <a:gd name="T67" fmla="*/ 275 h 673"/>
              <a:gd name="T68" fmla="*/ 165 w 770"/>
              <a:gd name="T69" fmla="*/ 189 h 673"/>
              <a:gd name="T70" fmla="*/ 145 w 770"/>
              <a:gd name="T71" fmla="*/ 146 h 673"/>
              <a:gd name="T72" fmla="*/ 159 w 770"/>
              <a:gd name="T73" fmla="*/ 179 h 673"/>
              <a:gd name="T74" fmla="*/ 200 w 770"/>
              <a:gd name="T75" fmla="*/ 286 h 673"/>
              <a:gd name="T76" fmla="*/ 134 w 770"/>
              <a:gd name="T77" fmla="*/ 335 h 673"/>
              <a:gd name="T78" fmla="*/ 129 w 770"/>
              <a:gd name="T79" fmla="*/ 219 h 673"/>
              <a:gd name="T80" fmla="*/ 719 w 770"/>
              <a:gd name="T81" fmla="*/ 318 h 673"/>
              <a:gd name="T82" fmla="*/ 702 w 770"/>
              <a:gd name="T83" fmla="*/ 274 h 673"/>
              <a:gd name="T84" fmla="*/ 685 w 770"/>
              <a:gd name="T85" fmla="*/ 195 h 673"/>
              <a:gd name="T86" fmla="*/ 664 w 770"/>
              <a:gd name="T87" fmla="*/ 140 h 673"/>
              <a:gd name="T88" fmla="*/ 643 w 770"/>
              <a:gd name="T89" fmla="*/ 276 h 673"/>
              <a:gd name="T90" fmla="*/ 643 w 770"/>
              <a:gd name="T91" fmla="*/ 234 h 673"/>
              <a:gd name="T92" fmla="*/ 647 w 770"/>
              <a:gd name="T93" fmla="*/ 174 h 673"/>
              <a:gd name="T94" fmla="*/ 639 w 770"/>
              <a:gd name="T95" fmla="*/ 103 h 673"/>
              <a:gd name="T96" fmla="*/ 616 w 770"/>
              <a:gd name="T97" fmla="*/ 171 h 673"/>
              <a:gd name="T98" fmla="*/ 581 w 770"/>
              <a:gd name="T99" fmla="*/ 243 h 673"/>
              <a:gd name="T100" fmla="*/ 563 w 770"/>
              <a:gd name="T101" fmla="*/ 300 h 673"/>
              <a:gd name="T102" fmla="*/ 586 w 770"/>
              <a:gd name="T103" fmla="*/ 354 h 673"/>
              <a:gd name="T104" fmla="*/ 580 w 770"/>
              <a:gd name="T105" fmla="*/ 262 h 673"/>
              <a:gd name="T106" fmla="*/ 621 w 770"/>
              <a:gd name="T107" fmla="*/ 154 h 673"/>
              <a:gd name="T108" fmla="*/ 637 w 770"/>
              <a:gd name="T109" fmla="*/ 201 h 673"/>
              <a:gd name="T110" fmla="*/ 640 w 770"/>
              <a:gd name="T111" fmla="*/ 317 h 673"/>
              <a:gd name="T112" fmla="*/ 649 w 770"/>
              <a:gd name="T113" fmla="*/ 335 h 673"/>
              <a:gd name="T114" fmla="*/ 645 w 770"/>
              <a:gd name="T115" fmla="*/ 219 h 673"/>
              <a:gd name="T116" fmla="*/ 645 w 770"/>
              <a:gd name="T117" fmla="*/ 103 h 673"/>
              <a:gd name="T118" fmla="*/ 676 w 770"/>
              <a:gd name="T119" fmla="*/ 198 h 673"/>
              <a:gd name="T120" fmla="*/ 713 w 770"/>
              <a:gd name="T121" fmla="*/ 307 h 673"/>
              <a:gd name="T122" fmla="*/ 731 w 770"/>
              <a:gd name="T123" fmla="*/ 354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0" h="673">
                <a:moveTo>
                  <a:pt x="767" y="386"/>
                </a:moveTo>
                <a:cubicBezTo>
                  <a:pt x="764" y="379"/>
                  <a:pt x="756" y="374"/>
                  <a:pt x="743" y="369"/>
                </a:cubicBezTo>
                <a:cubicBezTo>
                  <a:pt x="741" y="368"/>
                  <a:pt x="739" y="367"/>
                  <a:pt x="737" y="367"/>
                </a:cubicBezTo>
                <a:cubicBezTo>
                  <a:pt x="734" y="356"/>
                  <a:pt x="734" y="356"/>
                  <a:pt x="734" y="356"/>
                </a:cubicBezTo>
                <a:cubicBezTo>
                  <a:pt x="736" y="354"/>
                  <a:pt x="736" y="350"/>
                  <a:pt x="735" y="346"/>
                </a:cubicBezTo>
                <a:cubicBezTo>
                  <a:pt x="734" y="342"/>
                  <a:pt x="731" y="340"/>
                  <a:pt x="728" y="339"/>
                </a:cubicBezTo>
                <a:cubicBezTo>
                  <a:pt x="725" y="331"/>
                  <a:pt x="725" y="331"/>
                  <a:pt x="725" y="331"/>
                </a:cubicBezTo>
                <a:cubicBezTo>
                  <a:pt x="728" y="330"/>
                  <a:pt x="729" y="325"/>
                  <a:pt x="727" y="321"/>
                </a:cubicBezTo>
                <a:cubicBezTo>
                  <a:pt x="726" y="317"/>
                  <a:pt x="723" y="315"/>
                  <a:pt x="720" y="314"/>
                </a:cubicBezTo>
                <a:cubicBezTo>
                  <a:pt x="718" y="306"/>
                  <a:pt x="718" y="306"/>
                  <a:pt x="718" y="306"/>
                </a:cubicBezTo>
                <a:cubicBezTo>
                  <a:pt x="720" y="304"/>
                  <a:pt x="721" y="300"/>
                  <a:pt x="719" y="296"/>
                </a:cubicBezTo>
                <a:cubicBezTo>
                  <a:pt x="718" y="292"/>
                  <a:pt x="715" y="289"/>
                  <a:pt x="712" y="289"/>
                </a:cubicBezTo>
                <a:cubicBezTo>
                  <a:pt x="710" y="281"/>
                  <a:pt x="710" y="281"/>
                  <a:pt x="710" y="281"/>
                </a:cubicBezTo>
                <a:cubicBezTo>
                  <a:pt x="712" y="279"/>
                  <a:pt x="713" y="275"/>
                  <a:pt x="711" y="271"/>
                </a:cubicBezTo>
                <a:cubicBezTo>
                  <a:pt x="710" y="267"/>
                  <a:pt x="707" y="264"/>
                  <a:pt x="704" y="263"/>
                </a:cubicBezTo>
                <a:cubicBezTo>
                  <a:pt x="702" y="256"/>
                  <a:pt x="702" y="256"/>
                  <a:pt x="702" y="256"/>
                </a:cubicBezTo>
                <a:cubicBezTo>
                  <a:pt x="704" y="254"/>
                  <a:pt x="705" y="250"/>
                  <a:pt x="704" y="245"/>
                </a:cubicBezTo>
                <a:cubicBezTo>
                  <a:pt x="702" y="241"/>
                  <a:pt x="700" y="239"/>
                  <a:pt x="697" y="238"/>
                </a:cubicBezTo>
                <a:cubicBezTo>
                  <a:pt x="694" y="230"/>
                  <a:pt x="694" y="230"/>
                  <a:pt x="694" y="230"/>
                </a:cubicBezTo>
                <a:cubicBezTo>
                  <a:pt x="696" y="228"/>
                  <a:pt x="697" y="224"/>
                  <a:pt x="696" y="220"/>
                </a:cubicBezTo>
                <a:cubicBezTo>
                  <a:pt x="695" y="216"/>
                  <a:pt x="692" y="213"/>
                  <a:pt x="689" y="213"/>
                </a:cubicBezTo>
                <a:cubicBezTo>
                  <a:pt x="686" y="205"/>
                  <a:pt x="686" y="205"/>
                  <a:pt x="686" y="205"/>
                </a:cubicBezTo>
                <a:cubicBezTo>
                  <a:pt x="689" y="203"/>
                  <a:pt x="690" y="199"/>
                  <a:pt x="688" y="194"/>
                </a:cubicBezTo>
                <a:cubicBezTo>
                  <a:pt x="687" y="190"/>
                  <a:pt x="684" y="187"/>
                  <a:pt x="681" y="187"/>
                </a:cubicBezTo>
                <a:cubicBezTo>
                  <a:pt x="679" y="179"/>
                  <a:pt x="679" y="179"/>
                  <a:pt x="679" y="179"/>
                </a:cubicBezTo>
                <a:cubicBezTo>
                  <a:pt x="681" y="177"/>
                  <a:pt x="681" y="173"/>
                  <a:pt x="680" y="169"/>
                </a:cubicBezTo>
                <a:cubicBezTo>
                  <a:pt x="679" y="165"/>
                  <a:pt x="676" y="162"/>
                  <a:pt x="673" y="162"/>
                </a:cubicBezTo>
                <a:cubicBezTo>
                  <a:pt x="670" y="154"/>
                  <a:pt x="670" y="154"/>
                  <a:pt x="670" y="154"/>
                </a:cubicBezTo>
                <a:cubicBezTo>
                  <a:pt x="672" y="152"/>
                  <a:pt x="673" y="148"/>
                  <a:pt x="672" y="144"/>
                </a:cubicBezTo>
                <a:cubicBezTo>
                  <a:pt x="671" y="140"/>
                  <a:pt x="668" y="137"/>
                  <a:pt x="665" y="137"/>
                </a:cubicBezTo>
                <a:cubicBezTo>
                  <a:pt x="662" y="128"/>
                  <a:pt x="662" y="128"/>
                  <a:pt x="662" y="128"/>
                </a:cubicBezTo>
                <a:cubicBezTo>
                  <a:pt x="664" y="126"/>
                  <a:pt x="665" y="122"/>
                  <a:pt x="663" y="119"/>
                </a:cubicBezTo>
                <a:cubicBezTo>
                  <a:pt x="662" y="115"/>
                  <a:pt x="659" y="112"/>
                  <a:pt x="656" y="111"/>
                </a:cubicBezTo>
                <a:cubicBezTo>
                  <a:pt x="653" y="102"/>
                  <a:pt x="653" y="102"/>
                  <a:pt x="653" y="102"/>
                </a:cubicBezTo>
                <a:cubicBezTo>
                  <a:pt x="654" y="101"/>
                  <a:pt x="655" y="100"/>
                  <a:pt x="655" y="98"/>
                </a:cubicBezTo>
                <a:cubicBezTo>
                  <a:pt x="656" y="98"/>
                  <a:pt x="657" y="97"/>
                  <a:pt x="657" y="97"/>
                </a:cubicBezTo>
                <a:cubicBezTo>
                  <a:pt x="661" y="94"/>
                  <a:pt x="663" y="92"/>
                  <a:pt x="666" y="89"/>
                </a:cubicBezTo>
                <a:cubicBezTo>
                  <a:pt x="668" y="86"/>
                  <a:pt x="670" y="82"/>
                  <a:pt x="670" y="79"/>
                </a:cubicBezTo>
                <a:cubicBezTo>
                  <a:pt x="671" y="76"/>
                  <a:pt x="671" y="74"/>
                  <a:pt x="671" y="72"/>
                </a:cubicBezTo>
                <a:cubicBezTo>
                  <a:pt x="670" y="71"/>
                  <a:pt x="668" y="69"/>
                  <a:pt x="667" y="69"/>
                </a:cubicBezTo>
                <a:cubicBezTo>
                  <a:pt x="665" y="69"/>
                  <a:pt x="664" y="70"/>
                  <a:pt x="663" y="71"/>
                </a:cubicBezTo>
                <a:cubicBezTo>
                  <a:pt x="662" y="72"/>
                  <a:pt x="660" y="75"/>
                  <a:pt x="659" y="77"/>
                </a:cubicBezTo>
                <a:cubicBezTo>
                  <a:pt x="657" y="79"/>
                  <a:pt x="655" y="81"/>
                  <a:pt x="653" y="83"/>
                </a:cubicBezTo>
                <a:cubicBezTo>
                  <a:pt x="651" y="84"/>
                  <a:pt x="649" y="85"/>
                  <a:pt x="648" y="85"/>
                </a:cubicBezTo>
                <a:cubicBezTo>
                  <a:pt x="647" y="85"/>
                  <a:pt x="646" y="85"/>
                  <a:pt x="645" y="85"/>
                </a:cubicBezTo>
                <a:cubicBezTo>
                  <a:pt x="644" y="85"/>
                  <a:pt x="644" y="85"/>
                  <a:pt x="643" y="85"/>
                </a:cubicBezTo>
                <a:cubicBezTo>
                  <a:pt x="643" y="85"/>
                  <a:pt x="643" y="85"/>
                  <a:pt x="643" y="85"/>
                </a:cubicBezTo>
                <a:cubicBezTo>
                  <a:pt x="641" y="84"/>
                  <a:pt x="640" y="85"/>
                  <a:pt x="638" y="85"/>
                </a:cubicBezTo>
                <a:cubicBezTo>
                  <a:pt x="638" y="85"/>
                  <a:pt x="637" y="85"/>
                  <a:pt x="636" y="85"/>
                </a:cubicBezTo>
                <a:cubicBezTo>
                  <a:pt x="634" y="84"/>
                  <a:pt x="631" y="82"/>
                  <a:pt x="629" y="81"/>
                </a:cubicBezTo>
                <a:cubicBezTo>
                  <a:pt x="627" y="79"/>
                  <a:pt x="625" y="77"/>
                  <a:pt x="624" y="74"/>
                </a:cubicBezTo>
                <a:cubicBezTo>
                  <a:pt x="622" y="72"/>
                  <a:pt x="621" y="69"/>
                  <a:pt x="620" y="66"/>
                </a:cubicBezTo>
                <a:cubicBezTo>
                  <a:pt x="504" y="66"/>
                  <a:pt x="504" y="66"/>
                  <a:pt x="504" y="66"/>
                </a:cubicBezTo>
                <a:cubicBezTo>
                  <a:pt x="479" y="66"/>
                  <a:pt x="460" y="66"/>
                  <a:pt x="437" y="55"/>
                </a:cubicBezTo>
                <a:cubicBezTo>
                  <a:pt x="430" y="51"/>
                  <a:pt x="425" y="48"/>
                  <a:pt x="420" y="44"/>
                </a:cubicBezTo>
                <a:cubicBezTo>
                  <a:pt x="414" y="40"/>
                  <a:pt x="410" y="36"/>
                  <a:pt x="405" y="31"/>
                </a:cubicBezTo>
                <a:cubicBezTo>
                  <a:pt x="401" y="27"/>
                  <a:pt x="397" y="22"/>
                  <a:pt x="394" y="16"/>
                </a:cubicBezTo>
                <a:cubicBezTo>
                  <a:pt x="391" y="11"/>
                  <a:pt x="388" y="6"/>
                  <a:pt x="385" y="0"/>
                </a:cubicBezTo>
                <a:cubicBezTo>
                  <a:pt x="382" y="6"/>
                  <a:pt x="379" y="11"/>
                  <a:pt x="376" y="16"/>
                </a:cubicBezTo>
                <a:cubicBezTo>
                  <a:pt x="373" y="22"/>
                  <a:pt x="369" y="27"/>
                  <a:pt x="365" y="31"/>
                </a:cubicBezTo>
                <a:cubicBezTo>
                  <a:pt x="360" y="36"/>
                  <a:pt x="356" y="40"/>
                  <a:pt x="350" y="44"/>
                </a:cubicBezTo>
                <a:cubicBezTo>
                  <a:pt x="345" y="48"/>
                  <a:pt x="340" y="51"/>
                  <a:pt x="333" y="55"/>
                </a:cubicBezTo>
                <a:cubicBezTo>
                  <a:pt x="310" y="66"/>
                  <a:pt x="291" y="66"/>
                  <a:pt x="266" y="66"/>
                </a:cubicBezTo>
                <a:cubicBezTo>
                  <a:pt x="150" y="66"/>
                  <a:pt x="150" y="66"/>
                  <a:pt x="150" y="66"/>
                </a:cubicBezTo>
                <a:cubicBezTo>
                  <a:pt x="149" y="69"/>
                  <a:pt x="148" y="72"/>
                  <a:pt x="146" y="74"/>
                </a:cubicBezTo>
                <a:cubicBezTo>
                  <a:pt x="145" y="77"/>
                  <a:pt x="143" y="79"/>
                  <a:pt x="141" y="81"/>
                </a:cubicBezTo>
                <a:cubicBezTo>
                  <a:pt x="139" y="82"/>
                  <a:pt x="137" y="84"/>
                  <a:pt x="134" y="85"/>
                </a:cubicBezTo>
                <a:cubicBezTo>
                  <a:pt x="133" y="85"/>
                  <a:pt x="132" y="85"/>
                  <a:pt x="132" y="85"/>
                </a:cubicBezTo>
                <a:cubicBezTo>
                  <a:pt x="130" y="85"/>
                  <a:pt x="129" y="84"/>
                  <a:pt x="127" y="85"/>
                </a:cubicBezTo>
                <a:cubicBezTo>
                  <a:pt x="127" y="85"/>
                  <a:pt x="127" y="85"/>
                  <a:pt x="127" y="85"/>
                </a:cubicBezTo>
                <a:cubicBezTo>
                  <a:pt x="126" y="85"/>
                  <a:pt x="126" y="85"/>
                  <a:pt x="125" y="85"/>
                </a:cubicBezTo>
                <a:cubicBezTo>
                  <a:pt x="124" y="85"/>
                  <a:pt x="123" y="85"/>
                  <a:pt x="122" y="85"/>
                </a:cubicBezTo>
                <a:cubicBezTo>
                  <a:pt x="121" y="85"/>
                  <a:pt x="119" y="84"/>
                  <a:pt x="117" y="83"/>
                </a:cubicBezTo>
                <a:cubicBezTo>
                  <a:pt x="115" y="81"/>
                  <a:pt x="113" y="79"/>
                  <a:pt x="111" y="77"/>
                </a:cubicBezTo>
                <a:cubicBezTo>
                  <a:pt x="110" y="75"/>
                  <a:pt x="109" y="72"/>
                  <a:pt x="107" y="71"/>
                </a:cubicBezTo>
                <a:cubicBezTo>
                  <a:pt x="106" y="70"/>
                  <a:pt x="105" y="69"/>
                  <a:pt x="103" y="69"/>
                </a:cubicBezTo>
                <a:cubicBezTo>
                  <a:pt x="102" y="69"/>
                  <a:pt x="100" y="71"/>
                  <a:pt x="99" y="72"/>
                </a:cubicBezTo>
                <a:cubicBezTo>
                  <a:pt x="99" y="74"/>
                  <a:pt x="99" y="76"/>
                  <a:pt x="100" y="79"/>
                </a:cubicBezTo>
                <a:cubicBezTo>
                  <a:pt x="100" y="82"/>
                  <a:pt x="102" y="86"/>
                  <a:pt x="104" y="89"/>
                </a:cubicBezTo>
                <a:cubicBezTo>
                  <a:pt x="107" y="92"/>
                  <a:pt x="109" y="94"/>
                  <a:pt x="113" y="97"/>
                </a:cubicBezTo>
                <a:cubicBezTo>
                  <a:pt x="113" y="97"/>
                  <a:pt x="114" y="98"/>
                  <a:pt x="115" y="98"/>
                </a:cubicBezTo>
                <a:cubicBezTo>
                  <a:pt x="115" y="100"/>
                  <a:pt x="116" y="101"/>
                  <a:pt x="117" y="102"/>
                </a:cubicBezTo>
                <a:cubicBezTo>
                  <a:pt x="114" y="111"/>
                  <a:pt x="114" y="111"/>
                  <a:pt x="114" y="111"/>
                </a:cubicBezTo>
                <a:cubicBezTo>
                  <a:pt x="111" y="112"/>
                  <a:pt x="108" y="115"/>
                  <a:pt x="107" y="119"/>
                </a:cubicBezTo>
                <a:cubicBezTo>
                  <a:pt x="105" y="122"/>
                  <a:pt x="106" y="126"/>
                  <a:pt x="108" y="128"/>
                </a:cubicBezTo>
                <a:cubicBezTo>
                  <a:pt x="105" y="137"/>
                  <a:pt x="105" y="137"/>
                  <a:pt x="105" y="137"/>
                </a:cubicBezTo>
                <a:cubicBezTo>
                  <a:pt x="102" y="137"/>
                  <a:pt x="100" y="140"/>
                  <a:pt x="98" y="144"/>
                </a:cubicBezTo>
                <a:cubicBezTo>
                  <a:pt x="97" y="148"/>
                  <a:pt x="98" y="152"/>
                  <a:pt x="100" y="154"/>
                </a:cubicBezTo>
                <a:cubicBezTo>
                  <a:pt x="97" y="162"/>
                  <a:pt x="97" y="162"/>
                  <a:pt x="97" y="162"/>
                </a:cubicBezTo>
                <a:cubicBezTo>
                  <a:pt x="94" y="162"/>
                  <a:pt x="91" y="165"/>
                  <a:pt x="90" y="169"/>
                </a:cubicBezTo>
                <a:cubicBezTo>
                  <a:pt x="89" y="173"/>
                  <a:pt x="89" y="177"/>
                  <a:pt x="92" y="179"/>
                </a:cubicBezTo>
                <a:cubicBezTo>
                  <a:pt x="89" y="187"/>
                  <a:pt x="89" y="187"/>
                  <a:pt x="89" y="187"/>
                </a:cubicBezTo>
                <a:cubicBezTo>
                  <a:pt x="86" y="187"/>
                  <a:pt x="83" y="190"/>
                  <a:pt x="82" y="194"/>
                </a:cubicBezTo>
                <a:cubicBezTo>
                  <a:pt x="80" y="199"/>
                  <a:pt x="81" y="203"/>
                  <a:pt x="84" y="205"/>
                </a:cubicBezTo>
                <a:cubicBezTo>
                  <a:pt x="81" y="213"/>
                  <a:pt x="81" y="213"/>
                  <a:pt x="81" y="213"/>
                </a:cubicBezTo>
                <a:cubicBezTo>
                  <a:pt x="78" y="213"/>
                  <a:pt x="76" y="216"/>
                  <a:pt x="74" y="220"/>
                </a:cubicBezTo>
                <a:cubicBezTo>
                  <a:pt x="73" y="224"/>
                  <a:pt x="74" y="228"/>
                  <a:pt x="76" y="230"/>
                </a:cubicBezTo>
                <a:cubicBezTo>
                  <a:pt x="73" y="238"/>
                  <a:pt x="73" y="238"/>
                  <a:pt x="73" y="238"/>
                </a:cubicBezTo>
                <a:cubicBezTo>
                  <a:pt x="70" y="239"/>
                  <a:pt x="68" y="241"/>
                  <a:pt x="66" y="245"/>
                </a:cubicBezTo>
                <a:cubicBezTo>
                  <a:pt x="65" y="250"/>
                  <a:pt x="66" y="254"/>
                  <a:pt x="68" y="256"/>
                </a:cubicBezTo>
                <a:cubicBezTo>
                  <a:pt x="66" y="263"/>
                  <a:pt x="66" y="263"/>
                  <a:pt x="66" y="263"/>
                </a:cubicBezTo>
                <a:cubicBezTo>
                  <a:pt x="63" y="264"/>
                  <a:pt x="60" y="267"/>
                  <a:pt x="59" y="271"/>
                </a:cubicBezTo>
                <a:cubicBezTo>
                  <a:pt x="57" y="275"/>
                  <a:pt x="58" y="279"/>
                  <a:pt x="60" y="281"/>
                </a:cubicBezTo>
                <a:cubicBezTo>
                  <a:pt x="58" y="289"/>
                  <a:pt x="58" y="289"/>
                  <a:pt x="58" y="289"/>
                </a:cubicBezTo>
                <a:cubicBezTo>
                  <a:pt x="55" y="289"/>
                  <a:pt x="52" y="292"/>
                  <a:pt x="51" y="296"/>
                </a:cubicBezTo>
                <a:cubicBezTo>
                  <a:pt x="49" y="300"/>
                  <a:pt x="50" y="304"/>
                  <a:pt x="52" y="306"/>
                </a:cubicBezTo>
                <a:cubicBezTo>
                  <a:pt x="50" y="314"/>
                  <a:pt x="50" y="314"/>
                  <a:pt x="50" y="314"/>
                </a:cubicBezTo>
                <a:cubicBezTo>
                  <a:pt x="47" y="315"/>
                  <a:pt x="44" y="317"/>
                  <a:pt x="43" y="321"/>
                </a:cubicBezTo>
                <a:cubicBezTo>
                  <a:pt x="41" y="325"/>
                  <a:pt x="42" y="330"/>
                  <a:pt x="45" y="331"/>
                </a:cubicBezTo>
                <a:cubicBezTo>
                  <a:pt x="42" y="339"/>
                  <a:pt x="42" y="339"/>
                  <a:pt x="42" y="339"/>
                </a:cubicBezTo>
                <a:cubicBezTo>
                  <a:pt x="39" y="340"/>
                  <a:pt x="36" y="342"/>
                  <a:pt x="35" y="346"/>
                </a:cubicBezTo>
                <a:cubicBezTo>
                  <a:pt x="34" y="350"/>
                  <a:pt x="34" y="354"/>
                  <a:pt x="36" y="356"/>
                </a:cubicBezTo>
                <a:cubicBezTo>
                  <a:pt x="33" y="367"/>
                  <a:pt x="33" y="367"/>
                  <a:pt x="33" y="367"/>
                </a:cubicBezTo>
                <a:cubicBezTo>
                  <a:pt x="31" y="367"/>
                  <a:pt x="29" y="368"/>
                  <a:pt x="27" y="369"/>
                </a:cubicBezTo>
                <a:cubicBezTo>
                  <a:pt x="14" y="374"/>
                  <a:pt x="6" y="379"/>
                  <a:pt x="3" y="386"/>
                </a:cubicBezTo>
                <a:cubicBezTo>
                  <a:pt x="0" y="392"/>
                  <a:pt x="3" y="398"/>
                  <a:pt x="10" y="406"/>
                </a:cubicBezTo>
                <a:cubicBezTo>
                  <a:pt x="17" y="414"/>
                  <a:pt x="29" y="424"/>
                  <a:pt x="43" y="432"/>
                </a:cubicBezTo>
                <a:cubicBezTo>
                  <a:pt x="56" y="441"/>
                  <a:pt x="72" y="448"/>
                  <a:pt x="86" y="452"/>
                </a:cubicBezTo>
                <a:cubicBezTo>
                  <a:pt x="101" y="457"/>
                  <a:pt x="114" y="459"/>
                  <a:pt x="126" y="459"/>
                </a:cubicBezTo>
                <a:cubicBezTo>
                  <a:pt x="139" y="459"/>
                  <a:pt x="152" y="458"/>
                  <a:pt x="163" y="456"/>
                </a:cubicBezTo>
                <a:cubicBezTo>
                  <a:pt x="175" y="454"/>
                  <a:pt x="186" y="451"/>
                  <a:pt x="197" y="446"/>
                </a:cubicBezTo>
                <a:cubicBezTo>
                  <a:pt x="208" y="442"/>
                  <a:pt x="219" y="435"/>
                  <a:pt x="229" y="428"/>
                </a:cubicBezTo>
                <a:cubicBezTo>
                  <a:pt x="238" y="422"/>
                  <a:pt x="246" y="415"/>
                  <a:pt x="252" y="409"/>
                </a:cubicBezTo>
                <a:cubicBezTo>
                  <a:pt x="258" y="403"/>
                  <a:pt x="262" y="398"/>
                  <a:pt x="265" y="394"/>
                </a:cubicBezTo>
                <a:cubicBezTo>
                  <a:pt x="267" y="389"/>
                  <a:pt x="268" y="386"/>
                  <a:pt x="267" y="382"/>
                </a:cubicBezTo>
                <a:cubicBezTo>
                  <a:pt x="266" y="378"/>
                  <a:pt x="263" y="375"/>
                  <a:pt x="257" y="371"/>
                </a:cubicBezTo>
                <a:cubicBezTo>
                  <a:pt x="251" y="368"/>
                  <a:pt x="243" y="364"/>
                  <a:pt x="232" y="361"/>
                </a:cubicBezTo>
                <a:cubicBezTo>
                  <a:pt x="229" y="351"/>
                  <a:pt x="229" y="351"/>
                  <a:pt x="229" y="351"/>
                </a:cubicBezTo>
                <a:cubicBezTo>
                  <a:pt x="231" y="349"/>
                  <a:pt x="231" y="345"/>
                  <a:pt x="230" y="341"/>
                </a:cubicBezTo>
                <a:cubicBezTo>
                  <a:pt x="228" y="337"/>
                  <a:pt x="225" y="335"/>
                  <a:pt x="223" y="334"/>
                </a:cubicBezTo>
                <a:cubicBezTo>
                  <a:pt x="220" y="326"/>
                  <a:pt x="220" y="326"/>
                  <a:pt x="220" y="326"/>
                </a:cubicBezTo>
                <a:cubicBezTo>
                  <a:pt x="221" y="324"/>
                  <a:pt x="222" y="320"/>
                  <a:pt x="220" y="317"/>
                </a:cubicBezTo>
                <a:cubicBezTo>
                  <a:pt x="219" y="313"/>
                  <a:pt x="216" y="310"/>
                  <a:pt x="213" y="310"/>
                </a:cubicBezTo>
                <a:cubicBezTo>
                  <a:pt x="210" y="301"/>
                  <a:pt x="210" y="301"/>
                  <a:pt x="210" y="301"/>
                </a:cubicBezTo>
                <a:cubicBezTo>
                  <a:pt x="212" y="299"/>
                  <a:pt x="212" y="296"/>
                  <a:pt x="211" y="292"/>
                </a:cubicBezTo>
                <a:cubicBezTo>
                  <a:pt x="210" y="288"/>
                  <a:pt x="207" y="285"/>
                  <a:pt x="204" y="285"/>
                </a:cubicBezTo>
                <a:cubicBezTo>
                  <a:pt x="201" y="277"/>
                  <a:pt x="201" y="277"/>
                  <a:pt x="201" y="277"/>
                </a:cubicBezTo>
                <a:cubicBezTo>
                  <a:pt x="202" y="274"/>
                  <a:pt x="203" y="271"/>
                  <a:pt x="202" y="267"/>
                </a:cubicBezTo>
                <a:cubicBezTo>
                  <a:pt x="200" y="263"/>
                  <a:pt x="197" y="260"/>
                  <a:pt x="194" y="260"/>
                </a:cubicBezTo>
                <a:cubicBezTo>
                  <a:pt x="191" y="252"/>
                  <a:pt x="191" y="252"/>
                  <a:pt x="191" y="252"/>
                </a:cubicBezTo>
                <a:cubicBezTo>
                  <a:pt x="193" y="250"/>
                  <a:pt x="193" y="246"/>
                  <a:pt x="192" y="242"/>
                </a:cubicBezTo>
                <a:cubicBezTo>
                  <a:pt x="191" y="238"/>
                  <a:pt x="188" y="236"/>
                  <a:pt x="185" y="235"/>
                </a:cubicBezTo>
                <a:cubicBezTo>
                  <a:pt x="182" y="227"/>
                  <a:pt x="182" y="227"/>
                  <a:pt x="182" y="227"/>
                </a:cubicBezTo>
                <a:cubicBezTo>
                  <a:pt x="184" y="225"/>
                  <a:pt x="184" y="221"/>
                  <a:pt x="183" y="217"/>
                </a:cubicBezTo>
                <a:cubicBezTo>
                  <a:pt x="181" y="214"/>
                  <a:pt x="178" y="211"/>
                  <a:pt x="176" y="211"/>
                </a:cubicBezTo>
                <a:cubicBezTo>
                  <a:pt x="172" y="202"/>
                  <a:pt x="172" y="202"/>
                  <a:pt x="172" y="202"/>
                </a:cubicBezTo>
                <a:cubicBezTo>
                  <a:pt x="174" y="199"/>
                  <a:pt x="174" y="196"/>
                  <a:pt x="173" y="192"/>
                </a:cubicBezTo>
                <a:cubicBezTo>
                  <a:pt x="171" y="189"/>
                  <a:pt x="168" y="186"/>
                  <a:pt x="166" y="186"/>
                </a:cubicBezTo>
                <a:cubicBezTo>
                  <a:pt x="163" y="177"/>
                  <a:pt x="163" y="177"/>
                  <a:pt x="163" y="177"/>
                </a:cubicBezTo>
                <a:cubicBezTo>
                  <a:pt x="164" y="175"/>
                  <a:pt x="165" y="171"/>
                  <a:pt x="164" y="168"/>
                </a:cubicBezTo>
                <a:cubicBezTo>
                  <a:pt x="162" y="164"/>
                  <a:pt x="159" y="161"/>
                  <a:pt x="156" y="161"/>
                </a:cubicBezTo>
                <a:cubicBezTo>
                  <a:pt x="153" y="153"/>
                  <a:pt x="153" y="153"/>
                  <a:pt x="153" y="153"/>
                </a:cubicBezTo>
                <a:cubicBezTo>
                  <a:pt x="156" y="151"/>
                  <a:pt x="156" y="147"/>
                  <a:pt x="155" y="143"/>
                </a:cubicBezTo>
                <a:cubicBezTo>
                  <a:pt x="153" y="139"/>
                  <a:pt x="150" y="136"/>
                  <a:pt x="147" y="136"/>
                </a:cubicBezTo>
                <a:cubicBezTo>
                  <a:pt x="144" y="128"/>
                  <a:pt x="144" y="128"/>
                  <a:pt x="144" y="128"/>
                </a:cubicBezTo>
                <a:cubicBezTo>
                  <a:pt x="146" y="126"/>
                  <a:pt x="147" y="122"/>
                  <a:pt x="146" y="118"/>
                </a:cubicBezTo>
                <a:cubicBezTo>
                  <a:pt x="144" y="114"/>
                  <a:pt x="141" y="111"/>
                  <a:pt x="138" y="111"/>
                </a:cubicBezTo>
                <a:cubicBezTo>
                  <a:pt x="135" y="102"/>
                  <a:pt x="135" y="102"/>
                  <a:pt x="135" y="102"/>
                </a:cubicBezTo>
                <a:cubicBezTo>
                  <a:pt x="136" y="102"/>
                  <a:pt x="137" y="101"/>
                  <a:pt x="139" y="101"/>
                </a:cubicBezTo>
                <a:cubicBezTo>
                  <a:pt x="143" y="99"/>
                  <a:pt x="147" y="97"/>
                  <a:pt x="150" y="94"/>
                </a:cubicBezTo>
                <a:cubicBezTo>
                  <a:pt x="153" y="92"/>
                  <a:pt x="156" y="90"/>
                  <a:pt x="158" y="87"/>
                </a:cubicBezTo>
                <a:cubicBezTo>
                  <a:pt x="158" y="86"/>
                  <a:pt x="159" y="85"/>
                  <a:pt x="159" y="85"/>
                </a:cubicBezTo>
                <a:cubicBezTo>
                  <a:pt x="299" y="85"/>
                  <a:pt x="299" y="85"/>
                  <a:pt x="299" y="85"/>
                </a:cubicBezTo>
                <a:cubicBezTo>
                  <a:pt x="306" y="85"/>
                  <a:pt x="312" y="85"/>
                  <a:pt x="319" y="85"/>
                </a:cubicBezTo>
                <a:cubicBezTo>
                  <a:pt x="326" y="86"/>
                  <a:pt x="333" y="87"/>
                  <a:pt x="338" y="88"/>
                </a:cubicBezTo>
                <a:cubicBezTo>
                  <a:pt x="346" y="89"/>
                  <a:pt x="355" y="92"/>
                  <a:pt x="358" y="100"/>
                </a:cubicBezTo>
                <a:cubicBezTo>
                  <a:pt x="360" y="105"/>
                  <a:pt x="358" y="108"/>
                  <a:pt x="355" y="113"/>
                </a:cubicBezTo>
                <a:cubicBezTo>
                  <a:pt x="353" y="118"/>
                  <a:pt x="352" y="122"/>
                  <a:pt x="352" y="128"/>
                </a:cubicBezTo>
                <a:cubicBezTo>
                  <a:pt x="352" y="139"/>
                  <a:pt x="358" y="149"/>
                  <a:pt x="367" y="155"/>
                </a:cubicBezTo>
                <a:cubicBezTo>
                  <a:pt x="367" y="507"/>
                  <a:pt x="367" y="507"/>
                  <a:pt x="367" y="507"/>
                </a:cubicBezTo>
                <a:cubicBezTo>
                  <a:pt x="366" y="507"/>
                  <a:pt x="364" y="508"/>
                  <a:pt x="363" y="508"/>
                </a:cubicBezTo>
                <a:cubicBezTo>
                  <a:pt x="361" y="509"/>
                  <a:pt x="359" y="511"/>
                  <a:pt x="358" y="512"/>
                </a:cubicBezTo>
                <a:cubicBezTo>
                  <a:pt x="357" y="514"/>
                  <a:pt x="356" y="517"/>
                  <a:pt x="356" y="520"/>
                </a:cubicBezTo>
                <a:cubicBezTo>
                  <a:pt x="356" y="523"/>
                  <a:pt x="356" y="526"/>
                  <a:pt x="356" y="530"/>
                </a:cubicBezTo>
                <a:cubicBezTo>
                  <a:pt x="352" y="530"/>
                  <a:pt x="348" y="531"/>
                  <a:pt x="346" y="531"/>
                </a:cubicBezTo>
                <a:cubicBezTo>
                  <a:pt x="343" y="532"/>
                  <a:pt x="341" y="533"/>
                  <a:pt x="340" y="534"/>
                </a:cubicBezTo>
                <a:cubicBezTo>
                  <a:pt x="339" y="535"/>
                  <a:pt x="339" y="536"/>
                  <a:pt x="339" y="538"/>
                </a:cubicBezTo>
                <a:cubicBezTo>
                  <a:pt x="339" y="539"/>
                  <a:pt x="339" y="541"/>
                  <a:pt x="339" y="542"/>
                </a:cubicBezTo>
                <a:cubicBezTo>
                  <a:pt x="328" y="543"/>
                  <a:pt x="317" y="544"/>
                  <a:pt x="305" y="546"/>
                </a:cubicBezTo>
                <a:cubicBezTo>
                  <a:pt x="293" y="548"/>
                  <a:pt x="281" y="552"/>
                  <a:pt x="269" y="556"/>
                </a:cubicBezTo>
                <a:cubicBezTo>
                  <a:pt x="257" y="560"/>
                  <a:pt x="246" y="565"/>
                  <a:pt x="239" y="569"/>
                </a:cubicBezTo>
                <a:cubicBezTo>
                  <a:pt x="233" y="573"/>
                  <a:pt x="230" y="576"/>
                  <a:pt x="228" y="579"/>
                </a:cubicBezTo>
                <a:cubicBezTo>
                  <a:pt x="226" y="582"/>
                  <a:pt x="225" y="585"/>
                  <a:pt x="225" y="591"/>
                </a:cubicBezTo>
                <a:cubicBezTo>
                  <a:pt x="224" y="597"/>
                  <a:pt x="225" y="604"/>
                  <a:pt x="225" y="609"/>
                </a:cubicBezTo>
                <a:cubicBezTo>
                  <a:pt x="225" y="626"/>
                  <a:pt x="241" y="634"/>
                  <a:pt x="255" y="642"/>
                </a:cubicBezTo>
                <a:cubicBezTo>
                  <a:pt x="267" y="648"/>
                  <a:pt x="280" y="653"/>
                  <a:pt x="297" y="659"/>
                </a:cubicBezTo>
                <a:cubicBezTo>
                  <a:pt x="346" y="673"/>
                  <a:pt x="424" y="673"/>
                  <a:pt x="473" y="659"/>
                </a:cubicBezTo>
                <a:cubicBezTo>
                  <a:pt x="490" y="653"/>
                  <a:pt x="503" y="648"/>
                  <a:pt x="515" y="642"/>
                </a:cubicBezTo>
                <a:cubicBezTo>
                  <a:pt x="529" y="634"/>
                  <a:pt x="545" y="626"/>
                  <a:pt x="545" y="609"/>
                </a:cubicBezTo>
                <a:cubicBezTo>
                  <a:pt x="545" y="604"/>
                  <a:pt x="546" y="597"/>
                  <a:pt x="545" y="591"/>
                </a:cubicBezTo>
                <a:cubicBezTo>
                  <a:pt x="545" y="585"/>
                  <a:pt x="544" y="582"/>
                  <a:pt x="542" y="579"/>
                </a:cubicBezTo>
                <a:cubicBezTo>
                  <a:pt x="540" y="576"/>
                  <a:pt x="537" y="573"/>
                  <a:pt x="531" y="569"/>
                </a:cubicBezTo>
                <a:cubicBezTo>
                  <a:pt x="524" y="565"/>
                  <a:pt x="513" y="560"/>
                  <a:pt x="501" y="556"/>
                </a:cubicBezTo>
                <a:cubicBezTo>
                  <a:pt x="489" y="552"/>
                  <a:pt x="477" y="548"/>
                  <a:pt x="465" y="546"/>
                </a:cubicBezTo>
                <a:cubicBezTo>
                  <a:pt x="453" y="544"/>
                  <a:pt x="442" y="543"/>
                  <a:pt x="431" y="542"/>
                </a:cubicBezTo>
                <a:cubicBezTo>
                  <a:pt x="431" y="541"/>
                  <a:pt x="431" y="539"/>
                  <a:pt x="431" y="538"/>
                </a:cubicBezTo>
                <a:cubicBezTo>
                  <a:pt x="431" y="536"/>
                  <a:pt x="431" y="535"/>
                  <a:pt x="430" y="534"/>
                </a:cubicBezTo>
                <a:cubicBezTo>
                  <a:pt x="429" y="533"/>
                  <a:pt x="427" y="532"/>
                  <a:pt x="424" y="531"/>
                </a:cubicBezTo>
                <a:cubicBezTo>
                  <a:pt x="422" y="531"/>
                  <a:pt x="418" y="530"/>
                  <a:pt x="414" y="530"/>
                </a:cubicBezTo>
                <a:cubicBezTo>
                  <a:pt x="414" y="526"/>
                  <a:pt x="414" y="523"/>
                  <a:pt x="414" y="520"/>
                </a:cubicBezTo>
                <a:cubicBezTo>
                  <a:pt x="414" y="517"/>
                  <a:pt x="413" y="514"/>
                  <a:pt x="412" y="512"/>
                </a:cubicBezTo>
                <a:cubicBezTo>
                  <a:pt x="411" y="511"/>
                  <a:pt x="409" y="509"/>
                  <a:pt x="407" y="508"/>
                </a:cubicBezTo>
                <a:cubicBezTo>
                  <a:pt x="406" y="508"/>
                  <a:pt x="404" y="507"/>
                  <a:pt x="403" y="507"/>
                </a:cubicBezTo>
                <a:cubicBezTo>
                  <a:pt x="403" y="155"/>
                  <a:pt x="403" y="155"/>
                  <a:pt x="403" y="155"/>
                </a:cubicBezTo>
                <a:cubicBezTo>
                  <a:pt x="412" y="149"/>
                  <a:pt x="418" y="139"/>
                  <a:pt x="418" y="128"/>
                </a:cubicBezTo>
                <a:cubicBezTo>
                  <a:pt x="418" y="122"/>
                  <a:pt x="417" y="118"/>
                  <a:pt x="415" y="113"/>
                </a:cubicBezTo>
                <a:cubicBezTo>
                  <a:pt x="412" y="108"/>
                  <a:pt x="410" y="105"/>
                  <a:pt x="412" y="100"/>
                </a:cubicBezTo>
                <a:cubicBezTo>
                  <a:pt x="415" y="92"/>
                  <a:pt x="424" y="89"/>
                  <a:pt x="432" y="88"/>
                </a:cubicBezTo>
                <a:cubicBezTo>
                  <a:pt x="437" y="87"/>
                  <a:pt x="444" y="86"/>
                  <a:pt x="451" y="85"/>
                </a:cubicBezTo>
                <a:cubicBezTo>
                  <a:pt x="458" y="85"/>
                  <a:pt x="464" y="85"/>
                  <a:pt x="471" y="85"/>
                </a:cubicBezTo>
                <a:cubicBezTo>
                  <a:pt x="611" y="85"/>
                  <a:pt x="611" y="85"/>
                  <a:pt x="611" y="85"/>
                </a:cubicBezTo>
                <a:cubicBezTo>
                  <a:pt x="611" y="85"/>
                  <a:pt x="612" y="86"/>
                  <a:pt x="612" y="87"/>
                </a:cubicBezTo>
                <a:cubicBezTo>
                  <a:pt x="615" y="90"/>
                  <a:pt x="617" y="92"/>
                  <a:pt x="620" y="94"/>
                </a:cubicBezTo>
                <a:cubicBezTo>
                  <a:pt x="623" y="97"/>
                  <a:pt x="627" y="99"/>
                  <a:pt x="631" y="101"/>
                </a:cubicBezTo>
                <a:cubicBezTo>
                  <a:pt x="633" y="101"/>
                  <a:pt x="634" y="102"/>
                  <a:pt x="635" y="102"/>
                </a:cubicBezTo>
                <a:cubicBezTo>
                  <a:pt x="632" y="111"/>
                  <a:pt x="632" y="111"/>
                  <a:pt x="632" y="111"/>
                </a:cubicBezTo>
                <a:cubicBezTo>
                  <a:pt x="629" y="111"/>
                  <a:pt x="626" y="114"/>
                  <a:pt x="624" y="118"/>
                </a:cubicBezTo>
                <a:cubicBezTo>
                  <a:pt x="623" y="122"/>
                  <a:pt x="624" y="126"/>
                  <a:pt x="626" y="128"/>
                </a:cubicBezTo>
                <a:cubicBezTo>
                  <a:pt x="623" y="136"/>
                  <a:pt x="623" y="136"/>
                  <a:pt x="623" y="136"/>
                </a:cubicBezTo>
                <a:cubicBezTo>
                  <a:pt x="620" y="136"/>
                  <a:pt x="617" y="139"/>
                  <a:pt x="615" y="143"/>
                </a:cubicBezTo>
                <a:cubicBezTo>
                  <a:pt x="614" y="147"/>
                  <a:pt x="615" y="151"/>
                  <a:pt x="617" y="153"/>
                </a:cubicBezTo>
                <a:cubicBezTo>
                  <a:pt x="614" y="161"/>
                  <a:pt x="614" y="161"/>
                  <a:pt x="614" y="161"/>
                </a:cubicBezTo>
                <a:cubicBezTo>
                  <a:pt x="611" y="161"/>
                  <a:pt x="608" y="164"/>
                  <a:pt x="606" y="168"/>
                </a:cubicBezTo>
                <a:cubicBezTo>
                  <a:pt x="605" y="171"/>
                  <a:pt x="606" y="175"/>
                  <a:pt x="607" y="177"/>
                </a:cubicBezTo>
                <a:cubicBezTo>
                  <a:pt x="604" y="186"/>
                  <a:pt x="604" y="186"/>
                  <a:pt x="604" y="186"/>
                </a:cubicBezTo>
                <a:cubicBezTo>
                  <a:pt x="602" y="186"/>
                  <a:pt x="599" y="189"/>
                  <a:pt x="597" y="192"/>
                </a:cubicBezTo>
                <a:cubicBezTo>
                  <a:pt x="596" y="196"/>
                  <a:pt x="596" y="199"/>
                  <a:pt x="598" y="202"/>
                </a:cubicBezTo>
                <a:cubicBezTo>
                  <a:pt x="595" y="211"/>
                  <a:pt x="595" y="211"/>
                  <a:pt x="595" y="211"/>
                </a:cubicBezTo>
                <a:cubicBezTo>
                  <a:pt x="592" y="211"/>
                  <a:pt x="589" y="214"/>
                  <a:pt x="587" y="217"/>
                </a:cubicBezTo>
                <a:cubicBezTo>
                  <a:pt x="586" y="221"/>
                  <a:pt x="586" y="225"/>
                  <a:pt x="588" y="227"/>
                </a:cubicBezTo>
                <a:cubicBezTo>
                  <a:pt x="585" y="235"/>
                  <a:pt x="585" y="235"/>
                  <a:pt x="585" y="235"/>
                </a:cubicBezTo>
                <a:cubicBezTo>
                  <a:pt x="582" y="236"/>
                  <a:pt x="579" y="238"/>
                  <a:pt x="578" y="242"/>
                </a:cubicBezTo>
                <a:cubicBezTo>
                  <a:pt x="577" y="246"/>
                  <a:pt x="577" y="250"/>
                  <a:pt x="579" y="252"/>
                </a:cubicBezTo>
                <a:cubicBezTo>
                  <a:pt x="576" y="260"/>
                  <a:pt x="576" y="260"/>
                  <a:pt x="576" y="260"/>
                </a:cubicBezTo>
                <a:cubicBezTo>
                  <a:pt x="573" y="260"/>
                  <a:pt x="570" y="263"/>
                  <a:pt x="569" y="267"/>
                </a:cubicBezTo>
                <a:cubicBezTo>
                  <a:pt x="567" y="271"/>
                  <a:pt x="568" y="274"/>
                  <a:pt x="569" y="277"/>
                </a:cubicBezTo>
                <a:cubicBezTo>
                  <a:pt x="566" y="285"/>
                  <a:pt x="566" y="285"/>
                  <a:pt x="566" y="285"/>
                </a:cubicBezTo>
                <a:cubicBezTo>
                  <a:pt x="563" y="285"/>
                  <a:pt x="560" y="288"/>
                  <a:pt x="559" y="292"/>
                </a:cubicBezTo>
                <a:cubicBezTo>
                  <a:pt x="558" y="296"/>
                  <a:pt x="558" y="299"/>
                  <a:pt x="560" y="301"/>
                </a:cubicBezTo>
                <a:cubicBezTo>
                  <a:pt x="557" y="310"/>
                  <a:pt x="557" y="310"/>
                  <a:pt x="557" y="310"/>
                </a:cubicBezTo>
                <a:cubicBezTo>
                  <a:pt x="554" y="310"/>
                  <a:pt x="551" y="313"/>
                  <a:pt x="550" y="317"/>
                </a:cubicBezTo>
                <a:cubicBezTo>
                  <a:pt x="548" y="320"/>
                  <a:pt x="549" y="324"/>
                  <a:pt x="550" y="326"/>
                </a:cubicBezTo>
                <a:cubicBezTo>
                  <a:pt x="547" y="334"/>
                  <a:pt x="547" y="334"/>
                  <a:pt x="547" y="334"/>
                </a:cubicBezTo>
                <a:cubicBezTo>
                  <a:pt x="545" y="335"/>
                  <a:pt x="542" y="337"/>
                  <a:pt x="540" y="341"/>
                </a:cubicBezTo>
                <a:cubicBezTo>
                  <a:pt x="539" y="345"/>
                  <a:pt x="539" y="349"/>
                  <a:pt x="541" y="351"/>
                </a:cubicBezTo>
                <a:cubicBezTo>
                  <a:pt x="538" y="361"/>
                  <a:pt x="538" y="361"/>
                  <a:pt x="538" y="361"/>
                </a:cubicBezTo>
                <a:cubicBezTo>
                  <a:pt x="527" y="364"/>
                  <a:pt x="519" y="368"/>
                  <a:pt x="513" y="371"/>
                </a:cubicBezTo>
                <a:cubicBezTo>
                  <a:pt x="507" y="375"/>
                  <a:pt x="504" y="378"/>
                  <a:pt x="503" y="382"/>
                </a:cubicBezTo>
                <a:cubicBezTo>
                  <a:pt x="502" y="386"/>
                  <a:pt x="503" y="389"/>
                  <a:pt x="505" y="394"/>
                </a:cubicBezTo>
                <a:cubicBezTo>
                  <a:pt x="508" y="398"/>
                  <a:pt x="512" y="403"/>
                  <a:pt x="518" y="409"/>
                </a:cubicBezTo>
                <a:cubicBezTo>
                  <a:pt x="524" y="415"/>
                  <a:pt x="532" y="422"/>
                  <a:pt x="541" y="428"/>
                </a:cubicBezTo>
                <a:cubicBezTo>
                  <a:pt x="551" y="435"/>
                  <a:pt x="562" y="442"/>
                  <a:pt x="573" y="446"/>
                </a:cubicBezTo>
                <a:cubicBezTo>
                  <a:pt x="584" y="451"/>
                  <a:pt x="595" y="454"/>
                  <a:pt x="607" y="456"/>
                </a:cubicBezTo>
                <a:cubicBezTo>
                  <a:pt x="618" y="458"/>
                  <a:pt x="631" y="459"/>
                  <a:pt x="644" y="459"/>
                </a:cubicBezTo>
                <a:cubicBezTo>
                  <a:pt x="656" y="459"/>
                  <a:pt x="669" y="457"/>
                  <a:pt x="684" y="452"/>
                </a:cubicBezTo>
                <a:cubicBezTo>
                  <a:pt x="698" y="448"/>
                  <a:pt x="714" y="441"/>
                  <a:pt x="727" y="432"/>
                </a:cubicBezTo>
                <a:cubicBezTo>
                  <a:pt x="741" y="424"/>
                  <a:pt x="753" y="414"/>
                  <a:pt x="760" y="406"/>
                </a:cubicBezTo>
                <a:cubicBezTo>
                  <a:pt x="767" y="398"/>
                  <a:pt x="770" y="392"/>
                  <a:pt x="767" y="386"/>
                </a:cubicBezTo>
                <a:close/>
                <a:moveTo>
                  <a:pt x="129" y="103"/>
                </a:moveTo>
                <a:cubicBezTo>
                  <a:pt x="130" y="103"/>
                  <a:pt x="130" y="103"/>
                  <a:pt x="130" y="103"/>
                </a:cubicBezTo>
                <a:cubicBezTo>
                  <a:pt x="130" y="103"/>
                  <a:pt x="131" y="103"/>
                  <a:pt x="131" y="103"/>
                </a:cubicBezTo>
                <a:cubicBezTo>
                  <a:pt x="134" y="112"/>
                  <a:pt x="134" y="112"/>
                  <a:pt x="134" y="112"/>
                </a:cubicBezTo>
                <a:cubicBezTo>
                  <a:pt x="133" y="113"/>
                  <a:pt x="133" y="114"/>
                  <a:pt x="133" y="116"/>
                </a:cubicBezTo>
                <a:cubicBezTo>
                  <a:pt x="132" y="114"/>
                  <a:pt x="131" y="113"/>
                  <a:pt x="129" y="112"/>
                </a:cubicBezTo>
                <a:lnTo>
                  <a:pt x="129" y="103"/>
                </a:lnTo>
                <a:close/>
                <a:moveTo>
                  <a:pt x="127" y="116"/>
                </a:moveTo>
                <a:cubicBezTo>
                  <a:pt x="129" y="116"/>
                  <a:pt x="131" y="118"/>
                  <a:pt x="131" y="121"/>
                </a:cubicBezTo>
                <a:cubicBezTo>
                  <a:pt x="131" y="125"/>
                  <a:pt x="129" y="127"/>
                  <a:pt x="127" y="127"/>
                </a:cubicBezTo>
                <a:cubicBezTo>
                  <a:pt x="125" y="127"/>
                  <a:pt x="123" y="125"/>
                  <a:pt x="123" y="121"/>
                </a:cubicBezTo>
                <a:cubicBezTo>
                  <a:pt x="123" y="118"/>
                  <a:pt x="125" y="116"/>
                  <a:pt x="127" y="116"/>
                </a:cubicBezTo>
                <a:close/>
                <a:moveTo>
                  <a:pt x="127" y="287"/>
                </a:moveTo>
                <a:cubicBezTo>
                  <a:pt x="125" y="287"/>
                  <a:pt x="123" y="285"/>
                  <a:pt x="123" y="281"/>
                </a:cubicBezTo>
                <a:cubicBezTo>
                  <a:pt x="123" y="278"/>
                  <a:pt x="125" y="276"/>
                  <a:pt x="127" y="276"/>
                </a:cubicBezTo>
                <a:cubicBezTo>
                  <a:pt x="129" y="276"/>
                  <a:pt x="131" y="278"/>
                  <a:pt x="131" y="281"/>
                </a:cubicBezTo>
                <a:cubicBezTo>
                  <a:pt x="131" y="285"/>
                  <a:pt x="129" y="287"/>
                  <a:pt x="127" y="287"/>
                </a:cubicBezTo>
                <a:close/>
                <a:moveTo>
                  <a:pt x="131" y="308"/>
                </a:moveTo>
                <a:cubicBezTo>
                  <a:pt x="131" y="311"/>
                  <a:pt x="130" y="314"/>
                  <a:pt x="128" y="314"/>
                </a:cubicBezTo>
                <a:cubicBezTo>
                  <a:pt x="126" y="314"/>
                  <a:pt x="124" y="311"/>
                  <a:pt x="124" y="308"/>
                </a:cubicBezTo>
                <a:cubicBezTo>
                  <a:pt x="124" y="305"/>
                  <a:pt x="126" y="302"/>
                  <a:pt x="128" y="302"/>
                </a:cubicBezTo>
                <a:cubicBezTo>
                  <a:pt x="130" y="302"/>
                  <a:pt x="131" y="305"/>
                  <a:pt x="131" y="308"/>
                </a:cubicBezTo>
                <a:close/>
                <a:moveTo>
                  <a:pt x="127" y="260"/>
                </a:moveTo>
                <a:cubicBezTo>
                  <a:pt x="125" y="260"/>
                  <a:pt x="123" y="258"/>
                  <a:pt x="123" y="255"/>
                </a:cubicBezTo>
                <a:cubicBezTo>
                  <a:pt x="123" y="251"/>
                  <a:pt x="125" y="249"/>
                  <a:pt x="127" y="249"/>
                </a:cubicBezTo>
                <a:cubicBezTo>
                  <a:pt x="129" y="249"/>
                  <a:pt x="131" y="251"/>
                  <a:pt x="131" y="255"/>
                </a:cubicBezTo>
                <a:cubicBezTo>
                  <a:pt x="131" y="258"/>
                  <a:pt x="129" y="260"/>
                  <a:pt x="127" y="260"/>
                </a:cubicBezTo>
                <a:close/>
                <a:moveTo>
                  <a:pt x="127" y="234"/>
                </a:moveTo>
                <a:cubicBezTo>
                  <a:pt x="125" y="234"/>
                  <a:pt x="123" y="231"/>
                  <a:pt x="123" y="228"/>
                </a:cubicBezTo>
                <a:cubicBezTo>
                  <a:pt x="123" y="225"/>
                  <a:pt x="125" y="222"/>
                  <a:pt x="127" y="222"/>
                </a:cubicBezTo>
                <a:cubicBezTo>
                  <a:pt x="129" y="222"/>
                  <a:pt x="130" y="225"/>
                  <a:pt x="130" y="228"/>
                </a:cubicBezTo>
                <a:cubicBezTo>
                  <a:pt x="130" y="231"/>
                  <a:pt x="129" y="234"/>
                  <a:pt x="127" y="234"/>
                </a:cubicBezTo>
                <a:close/>
                <a:moveTo>
                  <a:pt x="127" y="207"/>
                </a:moveTo>
                <a:cubicBezTo>
                  <a:pt x="125" y="207"/>
                  <a:pt x="123" y="204"/>
                  <a:pt x="123" y="201"/>
                </a:cubicBezTo>
                <a:cubicBezTo>
                  <a:pt x="123" y="198"/>
                  <a:pt x="125" y="195"/>
                  <a:pt x="127" y="195"/>
                </a:cubicBezTo>
                <a:cubicBezTo>
                  <a:pt x="129" y="195"/>
                  <a:pt x="130" y="198"/>
                  <a:pt x="130" y="201"/>
                </a:cubicBezTo>
                <a:cubicBezTo>
                  <a:pt x="130" y="204"/>
                  <a:pt x="129" y="207"/>
                  <a:pt x="127" y="207"/>
                </a:cubicBezTo>
                <a:close/>
                <a:moveTo>
                  <a:pt x="127" y="180"/>
                </a:moveTo>
                <a:cubicBezTo>
                  <a:pt x="125" y="180"/>
                  <a:pt x="123" y="177"/>
                  <a:pt x="123" y="174"/>
                </a:cubicBezTo>
                <a:cubicBezTo>
                  <a:pt x="123" y="171"/>
                  <a:pt x="125" y="168"/>
                  <a:pt x="127" y="168"/>
                </a:cubicBezTo>
                <a:cubicBezTo>
                  <a:pt x="129" y="168"/>
                  <a:pt x="131" y="171"/>
                  <a:pt x="131" y="174"/>
                </a:cubicBezTo>
                <a:cubicBezTo>
                  <a:pt x="131" y="177"/>
                  <a:pt x="129" y="180"/>
                  <a:pt x="127" y="180"/>
                </a:cubicBezTo>
                <a:close/>
                <a:moveTo>
                  <a:pt x="127" y="153"/>
                </a:moveTo>
                <a:cubicBezTo>
                  <a:pt x="125" y="153"/>
                  <a:pt x="123" y="151"/>
                  <a:pt x="123" y="148"/>
                </a:cubicBezTo>
                <a:cubicBezTo>
                  <a:pt x="123" y="145"/>
                  <a:pt x="125" y="142"/>
                  <a:pt x="127" y="142"/>
                </a:cubicBezTo>
                <a:cubicBezTo>
                  <a:pt x="129" y="142"/>
                  <a:pt x="131" y="145"/>
                  <a:pt x="131" y="148"/>
                </a:cubicBezTo>
                <a:cubicBezTo>
                  <a:pt x="131" y="151"/>
                  <a:pt x="129" y="153"/>
                  <a:pt x="127" y="153"/>
                </a:cubicBezTo>
                <a:close/>
                <a:moveTo>
                  <a:pt x="109" y="120"/>
                </a:moveTo>
                <a:cubicBezTo>
                  <a:pt x="110" y="116"/>
                  <a:pt x="113" y="115"/>
                  <a:pt x="115" y="115"/>
                </a:cubicBezTo>
                <a:cubicBezTo>
                  <a:pt x="117" y="116"/>
                  <a:pt x="117" y="119"/>
                  <a:pt x="116" y="122"/>
                </a:cubicBezTo>
                <a:cubicBezTo>
                  <a:pt x="115" y="125"/>
                  <a:pt x="113" y="127"/>
                  <a:pt x="111" y="126"/>
                </a:cubicBezTo>
                <a:cubicBezTo>
                  <a:pt x="109" y="125"/>
                  <a:pt x="108" y="123"/>
                  <a:pt x="109" y="120"/>
                </a:cubicBezTo>
                <a:close/>
                <a:moveTo>
                  <a:pt x="101" y="145"/>
                </a:moveTo>
                <a:cubicBezTo>
                  <a:pt x="102" y="142"/>
                  <a:pt x="104" y="140"/>
                  <a:pt x="106" y="140"/>
                </a:cubicBezTo>
                <a:cubicBezTo>
                  <a:pt x="108" y="141"/>
                  <a:pt x="109" y="144"/>
                  <a:pt x="108" y="147"/>
                </a:cubicBezTo>
                <a:cubicBezTo>
                  <a:pt x="107" y="150"/>
                  <a:pt x="105" y="152"/>
                  <a:pt x="103" y="151"/>
                </a:cubicBezTo>
                <a:cubicBezTo>
                  <a:pt x="101" y="151"/>
                  <a:pt x="100" y="148"/>
                  <a:pt x="101" y="145"/>
                </a:cubicBezTo>
                <a:close/>
                <a:moveTo>
                  <a:pt x="93" y="170"/>
                </a:moveTo>
                <a:cubicBezTo>
                  <a:pt x="94" y="167"/>
                  <a:pt x="96" y="165"/>
                  <a:pt x="98" y="166"/>
                </a:cubicBezTo>
                <a:cubicBezTo>
                  <a:pt x="100" y="166"/>
                  <a:pt x="101" y="169"/>
                  <a:pt x="100" y="172"/>
                </a:cubicBezTo>
                <a:cubicBezTo>
                  <a:pt x="99" y="175"/>
                  <a:pt x="96" y="177"/>
                  <a:pt x="94" y="177"/>
                </a:cubicBezTo>
                <a:cubicBezTo>
                  <a:pt x="92" y="176"/>
                  <a:pt x="92" y="173"/>
                  <a:pt x="93" y="170"/>
                </a:cubicBezTo>
                <a:close/>
                <a:moveTo>
                  <a:pt x="85" y="195"/>
                </a:moveTo>
                <a:cubicBezTo>
                  <a:pt x="86" y="192"/>
                  <a:pt x="88" y="190"/>
                  <a:pt x="90" y="191"/>
                </a:cubicBezTo>
                <a:cubicBezTo>
                  <a:pt x="92" y="191"/>
                  <a:pt x="93" y="194"/>
                  <a:pt x="92" y="197"/>
                </a:cubicBezTo>
                <a:cubicBezTo>
                  <a:pt x="91" y="200"/>
                  <a:pt x="88" y="202"/>
                  <a:pt x="86" y="202"/>
                </a:cubicBezTo>
                <a:cubicBezTo>
                  <a:pt x="84" y="201"/>
                  <a:pt x="84" y="198"/>
                  <a:pt x="85" y="195"/>
                </a:cubicBezTo>
                <a:close/>
                <a:moveTo>
                  <a:pt x="77" y="221"/>
                </a:moveTo>
                <a:cubicBezTo>
                  <a:pt x="78" y="218"/>
                  <a:pt x="80" y="216"/>
                  <a:pt x="82" y="217"/>
                </a:cubicBezTo>
                <a:cubicBezTo>
                  <a:pt x="84" y="217"/>
                  <a:pt x="85" y="220"/>
                  <a:pt x="84" y="223"/>
                </a:cubicBezTo>
                <a:cubicBezTo>
                  <a:pt x="83" y="226"/>
                  <a:pt x="81" y="228"/>
                  <a:pt x="79" y="228"/>
                </a:cubicBezTo>
                <a:cubicBezTo>
                  <a:pt x="77" y="227"/>
                  <a:pt x="76" y="224"/>
                  <a:pt x="77" y="221"/>
                </a:cubicBezTo>
                <a:close/>
                <a:moveTo>
                  <a:pt x="69" y="246"/>
                </a:moveTo>
                <a:cubicBezTo>
                  <a:pt x="70" y="243"/>
                  <a:pt x="72" y="241"/>
                  <a:pt x="74" y="242"/>
                </a:cubicBezTo>
                <a:cubicBezTo>
                  <a:pt x="76" y="243"/>
                  <a:pt x="77" y="246"/>
                  <a:pt x="76" y="249"/>
                </a:cubicBezTo>
                <a:cubicBezTo>
                  <a:pt x="75" y="252"/>
                  <a:pt x="73" y="254"/>
                  <a:pt x="71" y="253"/>
                </a:cubicBezTo>
                <a:cubicBezTo>
                  <a:pt x="69" y="252"/>
                  <a:pt x="68" y="249"/>
                  <a:pt x="69" y="246"/>
                </a:cubicBezTo>
                <a:close/>
                <a:moveTo>
                  <a:pt x="61" y="271"/>
                </a:moveTo>
                <a:cubicBezTo>
                  <a:pt x="62" y="268"/>
                  <a:pt x="65" y="267"/>
                  <a:pt x="67" y="267"/>
                </a:cubicBezTo>
                <a:cubicBezTo>
                  <a:pt x="69" y="268"/>
                  <a:pt x="69" y="271"/>
                  <a:pt x="68" y="274"/>
                </a:cubicBezTo>
                <a:cubicBezTo>
                  <a:pt x="67" y="277"/>
                  <a:pt x="65" y="279"/>
                  <a:pt x="63" y="278"/>
                </a:cubicBezTo>
                <a:cubicBezTo>
                  <a:pt x="61" y="278"/>
                  <a:pt x="60" y="275"/>
                  <a:pt x="61" y="271"/>
                </a:cubicBezTo>
                <a:close/>
                <a:moveTo>
                  <a:pt x="53" y="297"/>
                </a:moveTo>
                <a:cubicBezTo>
                  <a:pt x="54" y="294"/>
                  <a:pt x="57" y="292"/>
                  <a:pt x="59" y="293"/>
                </a:cubicBezTo>
                <a:cubicBezTo>
                  <a:pt x="61" y="293"/>
                  <a:pt x="61" y="296"/>
                  <a:pt x="60" y="299"/>
                </a:cubicBezTo>
                <a:cubicBezTo>
                  <a:pt x="59" y="302"/>
                  <a:pt x="57" y="304"/>
                  <a:pt x="55" y="304"/>
                </a:cubicBezTo>
                <a:cubicBezTo>
                  <a:pt x="53" y="303"/>
                  <a:pt x="52" y="300"/>
                  <a:pt x="53" y="297"/>
                </a:cubicBezTo>
                <a:close/>
                <a:moveTo>
                  <a:pt x="45" y="322"/>
                </a:moveTo>
                <a:cubicBezTo>
                  <a:pt x="46" y="319"/>
                  <a:pt x="49" y="317"/>
                  <a:pt x="51" y="318"/>
                </a:cubicBezTo>
                <a:cubicBezTo>
                  <a:pt x="53" y="319"/>
                  <a:pt x="54" y="321"/>
                  <a:pt x="53" y="325"/>
                </a:cubicBezTo>
                <a:cubicBezTo>
                  <a:pt x="52" y="328"/>
                  <a:pt x="49" y="329"/>
                  <a:pt x="47" y="329"/>
                </a:cubicBezTo>
                <a:cubicBezTo>
                  <a:pt x="45" y="328"/>
                  <a:pt x="44" y="325"/>
                  <a:pt x="45" y="322"/>
                </a:cubicBezTo>
                <a:close/>
                <a:moveTo>
                  <a:pt x="38" y="347"/>
                </a:moveTo>
                <a:cubicBezTo>
                  <a:pt x="39" y="344"/>
                  <a:pt x="41" y="342"/>
                  <a:pt x="43" y="343"/>
                </a:cubicBezTo>
                <a:cubicBezTo>
                  <a:pt x="45" y="344"/>
                  <a:pt x="46" y="347"/>
                  <a:pt x="45" y="350"/>
                </a:cubicBezTo>
                <a:cubicBezTo>
                  <a:pt x="44" y="353"/>
                  <a:pt x="41" y="355"/>
                  <a:pt x="40" y="354"/>
                </a:cubicBezTo>
                <a:cubicBezTo>
                  <a:pt x="38" y="353"/>
                  <a:pt x="37" y="350"/>
                  <a:pt x="38" y="347"/>
                </a:cubicBezTo>
                <a:close/>
                <a:moveTo>
                  <a:pt x="126" y="353"/>
                </a:moveTo>
                <a:cubicBezTo>
                  <a:pt x="107" y="354"/>
                  <a:pt x="91" y="355"/>
                  <a:pt x="74" y="358"/>
                </a:cubicBezTo>
                <a:cubicBezTo>
                  <a:pt x="61" y="360"/>
                  <a:pt x="49" y="362"/>
                  <a:pt x="38" y="365"/>
                </a:cubicBezTo>
                <a:cubicBezTo>
                  <a:pt x="41" y="358"/>
                  <a:pt x="41" y="358"/>
                  <a:pt x="41" y="358"/>
                </a:cubicBezTo>
                <a:cubicBezTo>
                  <a:pt x="43" y="357"/>
                  <a:pt x="46" y="354"/>
                  <a:pt x="48" y="351"/>
                </a:cubicBezTo>
                <a:cubicBezTo>
                  <a:pt x="49" y="347"/>
                  <a:pt x="48" y="343"/>
                  <a:pt x="46" y="341"/>
                </a:cubicBezTo>
                <a:cubicBezTo>
                  <a:pt x="49" y="332"/>
                  <a:pt x="49" y="332"/>
                  <a:pt x="49" y="332"/>
                </a:cubicBezTo>
                <a:cubicBezTo>
                  <a:pt x="52" y="332"/>
                  <a:pt x="54" y="329"/>
                  <a:pt x="55" y="325"/>
                </a:cubicBezTo>
                <a:cubicBezTo>
                  <a:pt x="57" y="321"/>
                  <a:pt x="56" y="318"/>
                  <a:pt x="54" y="316"/>
                </a:cubicBezTo>
                <a:cubicBezTo>
                  <a:pt x="57" y="307"/>
                  <a:pt x="57" y="307"/>
                  <a:pt x="57" y="307"/>
                </a:cubicBezTo>
                <a:cubicBezTo>
                  <a:pt x="59" y="307"/>
                  <a:pt x="62" y="304"/>
                  <a:pt x="63" y="300"/>
                </a:cubicBezTo>
                <a:cubicBezTo>
                  <a:pt x="65" y="296"/>
                  <a:pt x="64" y="292"/>
                  <a:pt x="62" y="290"/>
                </a:cubicBezTo>
                <a:cubicBezTo>
                  <a:pt x="65" y="282"/>
                  <a:pt x="65" y="282"/>
                  <a:pt x="65" y="282"/>
                </a:cubicBezTo>
                <a:cubicBezTo>
                  <a:pt x="67" y="281"/>
                  <a:pt x="70" y="278"/>
                  <a:pt x="71" y="275"/>
                </a:cubicBezTo>
                <a:cubicBezTo>
                  <a:pt x="72" y="271"/>
                  <a:pt x="72" y="267"/>
                  <a:pt x="70" y="265"/>
                </a:cubicBezTo>
                <a:cubicBezTo>
                  <a:pt x="72" y="256"/>
                  <a:pt x="72" y="256"/>
                  <a:pt x="72" y="256"/>
                </a:cubicBezTo>
                <a:cubicBezTo>
                  <a:pt x="75" y="256"/>
                  <a:pt x="78" y="253"/>
                  <a:pt x="79" y="249"/>
                </a:cubicBezTo>
                <a:cubicBezTo>
                  <a:pt x="80" y="246"/>
                  <a:pt x="79" y="242"/>
                  <a:pt x="77" y="240"/>
                </a:cubicBezTo>
                <a:cubicBezTo>
                  <a:pt x="80" y="231"/>
                  <a:pt x="80" y="231"/>
                  <a:pt x="80" y="231"/>
                </a:cubicBezTo>
                <a:cubicBezTo>
                  <a:pt x="83" y="231"/>
                  <a:pt x="86" y="228"/>
                  <a:pt x="87" y="224"/>
                </a:cubicBezTo>
                <a:cubicBezTo>
                  <a:pt x="88" y="220"/>
                  <a:pt x="87" y="216"/>
                  <a:pt x="85" y="214"/>
                </a:cubicBezTo>
                <a:cubicBezTo>
                  <a:pt x="88" y="205"/>
                  <a:pt x="88" y="205"/>
                  <a:pt x="88" y="205"/>
                </a:cubicBezTo>
                <a:cubicBezTo>
                  <a:pt x="91" y="204"/>
                  <a:pt x="93" y="202"/>
                  <a:pt x="94" y="198"/>
                </a:cubicBezTo>
                <a:cubicBezTo>
                  <a:pt x="96" y="194"/>
                  <a:pt x="95" y="190"/>
                  <a:pt x="93" y="188"/>
                </a:cubicBezTo>
                <a:cubicBezTo>
                  <a:pt x="96" y="180"/>
                  <a:pt x="96" y="180"/>
                  <a:pt x="96" y="180"/>
                </a:cubicBezTo>
                <a:cubicBezTo>
                  <a:pt x="98" y="180"/>
                  <a:pt x="101" y="177"/>
                  <a:pt x="103" y="173"/>
                </a:cubicBezTo>
                <a:cubicBezTo>
                  <a:pt x="104" y="169"/>
                  <a:pt x="103" y="165"/>
                  <a:pt x="101" y="163"/>
                </a:cubicBezTo>
                <a:cubicBezTo>
                  <a:pt x="104" y="155"/>
                  <a:pt x="104" y="155"/>
                  <a:pt x="104" y="155"/>
                </a:cubicBezTo>
                <a:cubicBezTo>
                  <a:pt x="107" y="155"/>
                  <a:pt x="110" y="152"/>
                  <a:pt x="111" y="148"/>
                </a:cubicBezTo>
                <a:cubicBezTo>
                  <a:pt x="112" y="144"/>
                  <a:pt x="112" y="140"/>
                  <a:pt x="109" y="138"/>
                </a:cubicBezTo>
                <a:cubicBezTo>
                  <a:pt x="112" y="130"/>
                  <a:pt x="112" y="130"/>
                  <a:pt x="112" y="130"/>
                </a:cubicBezTo>
                <a:cubicBezTo>
                  <a:pt x="115" y="129"/>
                  <a:pt x="118" y="127"/>
                  <a:pt x="119" y="123"/>
                </a:cubicBezTo>
                <a:cubicBezTo>
                  <a:pt x="120" y="119"/>
                  <a:pt x="120" y="115"/>
                  <a:pt x="118" y="113"/>
                </a:cubicBezTo>
                <a:cubicBezTo>
                  <a:pt x="121" y="104"/>
                  <a:pt x="121" y="104"/>
                  <a:pt x="121" y="104"/>
                </a:cubicBezTo>
                <a:cubicBezTo>
                  <a:pt x="122" y="104"/>
                  <a:pt x="123" y="103"/>
                  <a:pt x="124" y="102"/>
                </a:cubicBezTo>
                <a:cubicBezTo>
                  <a:pt x="124" y="103"/>
                  <a:pt x="125" y="103"/>
                  <a:pt x="125" y="103"/>
                </a:cubicBezTo>
                <a:cubicBezTo>
                  <a:pt x="125" y="112"/>
                  <a:pt x="125" y="112"/>
                  <a:pt x="125" y="112"/>
                </a:cubicBezTo>
                <a:cubicBezTo>
                  <a:pt x="122" y="114"/>
                  <a:pt x="121" y="117"/>
                  <a:pt x="121" y="121"/>
                </a:cubicBezTo>
                <a:cubicBezTo>
                  <a:pt x="121" y="125"/>
                  <a:pt x="122" y="129"/>
                  <a:pt x="125" y="130"/>
                </a:cubicBezTo>
                <a:cubicBezTo>
                  <a:pt x="125" y="139"/>
                  <a:pt x="125" y="139"/>
                  <a:pt x="125" y="139"/>
                </a:cubicBezTo>
                <a:cubicBezTo>
                  <a:pt x="122" y="140"/>
                  <a:pt x="120" y="144"/>
                  <a:pt x="120" y="148"/>
                </a:cubicBezTo>
                <a:cubicBezTo>
                  <a:pt x="120" y="152"/>
                  <a:pt x="122" y="155"/>
                  <a:pt x="125" y="157"/>
                </a:cubicBezTo>
                <a:cubicBezTo>
                  <a:pt x="125" y="165"/>
                  <a:pt x="125" y="165"/>
                  <a:pt x="125" y="165"/>
                </a:cubicBezTo>
                <a:cubicBezTo>
                  <a:pt x="122" y="167"/>
                  <a:pt x="120" y="170"/>
                  <a:pt x="120" y="174"/>
                </a:cubicBezTo>
                <a:cubicBezTo>
                  <a:pt x="120" y="178"/>
                  <a:pt x="122" y="182"/>
                  <a:pt x="125" y="183"/>
                </a:cubicBezTo>
                <a:cubicBezTo>
                  <a:pt x="125" y="192"/>
                  <a:pt x="125" y="192"/>
                  <a:pt x="125" y="192"/>
                </a:cubicBezTo>
                <a:cubicBezTo>
                  <a:pt x="122" y="193"/>
                  <a:pt x="120" y="197"/>
                  <a:pt x="120" y="201"/>
                </a:cubicBezTo>
                <a:cubicBezTo>
                  <a:pt x="120" y="205"/>
                  <a:pt x="122" y="209"/>
                  <a:pt x="125" y="210"/>
                </a:cubicBezTo>
                <a:cubicBezTo>
                  <a:pt x="125" y="219"/>
                  <a:pt x="125" y="219"/>
                  <a:pt x="125" y="219"/>
                </a:cubicBezTo>
                <a:cubicBezTo>
                  <a:pt x="122" y="220"/>
                  <a:pt x="120" y="224"/>
                  <a:pt x="120" y="228"/>
                </a:cubicBezTo>
                <a:cubicBezTo>
                  <a:pt x="120" y="232"/>
                  <a:pt x="122" y="236"/>
                  <a:pt x="125" y="237"/>
                </a:cubicBezTo>
                <a:cubicBezTo>
                  <a:pt x="125" y="246"/>
                  <a:pt x="125" y="246"/>
                  <a:pt x="125" y="246"/>
                </a:cubicBezTo>
                <a:cubicBezTo>
                  <a:pt x="122" y="247"/>
                  <a:pt x="120" y="250"/>
                  <a:pt x="120" y="255"/>
                </a:cubicBezTo>
                <a:cubicBezTo>
                  <a:pt x="120" y="259"/>
                  <a:pt x="122" y="263"/>
                  <a:pt x="125" y="264"/>
                </a:cubicBezTo>
                <a:cubicBezTo>
                  <a:pt x="125" y="272"/>
                  <a:pt x="125" y="272"/>
                  <a:pt x="125" y="272"/>
                </a:cubicBezTo>
                <a:cubicBezTo>
                  <a:pt x="122" y="274"/>
                  <a:pt x="121" y="277"/>
                  <a:pt x="121" y="281"/>
                </a:cubicBezTo>
                <a:cubicBezTo>
                  <a:pt x="121" y="286"/>
                  <a:pt x="123" y="290"/>
                  <a:pt x="126" y="291"/>
                </a:cubicBezTo>
                <a:cubicBezTo>
                  <a:pt x="126" y="299"/>
                  <a:pt x="126" y="299"/>
                  <a:pt x="126" y="299"/>
                </a:cubicBezTo>
                <a:cubicBezTo>
                  <a:pt x="123" y="300"/>
                  <a:pt x="121" y="304"/>
                  <a:pt x="121" y="308"/>
                </a:cubicBezTo>
                <a:cubicBezTo>
                  <a:pt x="121" y="312"/>
                  <a:pt x="123" y="316"/>
                  <a:pt x="125" y="317"/>
                </a:cubicBezTo>
                <a:cubicBezTo>
                  <a:pt x="125" y="326"/>
                  <a:pt x="125" y="326"/>
                  <a:pt x="125" y="326"/>
                </a:cubicBezTo>
                <a:cubicBezTo>
                  <a:pt x="123" y="328"/>
                  <a:pt x="121" y="331"/>
                  <a:pt x="121" y="335"/>
                </a:cubicBezTo>
                <a:cubicBezTo>
                  <a:pt x="121" y="340"/>
                  <a:pt x="123" y="343"/>
                  <a:pt x="126" y="344"/>
                </a:cubicBezTo>
                <a:lnTo>
                  <a:pt x="126" y="353"/>
                </a:lnTo>
                <a:close/>
                <a:moveTo>
                  <a:pt x="128" y="341"/>
                </a:moveTo>
                <a:cubicBezTo>
                  <a:pt x="126" y="341"/>
                  <a:pt x="124" y="338"/>
                  <a:pt x="124" y="335"/>
                </a:cubicBezTo>
                <a:cubicBezTo>
                  <a:pt x="124" y="332"/>
                  <a:pt x="126" y="330"/>
                  <a:pt x="128" y="330"/>
                </a:cubicBezTo>
                <a:cubicBezTo>
                  <a:pt x="130" y="330"/>
                  <a:pt x="131" y="332"/>
                  <a:pt x="131" y="335"/>
                </a:cubicBezTo>
                <a:cubicBezTo>
                  <a:pt x="131" y="338"/>
                  <a:pt x="130" y="341"/>
                  <a:pt x="128" y="341"/>
                </a:cubicBezTo>
                <a:close/>
                <a:moveTo>
                  <a:pt x="222" y="338"/>
                </a:moveTo>
                <a:cubicBezTo>
                  <a:pt x="224" y="337"/>
                  <a:pt x="226" y="339"/>
                  <a:pt x="227" y="342"/>
                </a:cubicBezTo>
                <a:cubicBezTo>
                  <a:pt x="228" y="345"/>
                  <a:pt x="227" y="348"/>
                  <a:pt x="225" y="349"/>
                </a:cubicBezTo>
                <a:cubicBezTo>
                  <a:pt x="224" y="350"/>
                  <a:pt x="221" y="348"/>
                  <a:pt x="220" y="345"/>
                </a:cubicBezTo>
                <a:cubicBezTo>
                  <a:pt x="219" y="342"/>
                  <a:pt x="220" y="339"/>
                  <a:pt x="222" y="338"/>
                </a:cubicBezTo>
                <a:close/>
                <a:moveTo>
                  <a:pt x="212" y="313"/>
                </a:moveTo>
                <a:cubicBezTo>
                  <a:pt x="214" y="313"/>
                  <a:pt x="217" y="315"/>
                  <a:pt x="218" y="318"/>
                </a:cubicBezTo>
                <a:cubicBezTo>
                  <a:pt x="219" y="321"/>
                  <a:pt x="218" y="324"/>
                  <a:pt x="216" y="324"/>
                </a:cubicBezTo>
                <a:cubicBezTo>
                  <a:pt x="214" y="325"/>
                  <a:pt x="212" y="323"/>
                  <a:pt x="211" y="320"/>
                </a:cubicBezTo>
                <a:cubicBezTo>
                  <a:pt x="210" y="317"/>
                  <a:pt x="210" y="314"/>
                  <a:pt x="212" y="313"/>
                </a:cubicBezTo>
                <a:close/>
                <a:moveTo>
                  <a:pt x="203" y="289"/>
                </a:moveTo>
                <a:cubicBezTo>
                  <a:pt x="205" y="288"/>
                  <a:pt x="207" y="290"/>
                  <a:pt x="208" y="293"/>
                </a:cubicBezTo>
                <a:cubicBezTo>
                  <a:pt x="209" y="296"/>
                  <a:pt x="209" y="299"/>
                  <a:pt x="207" y="300"/>
                </a:cubicBezTo>
                <a:cubicBezTo>
                  <a:pt x="205" y="300"/>
                  <a:pt x="202" y="298"/>
                  <a:pt x="201" y="295"/>
                </a:cubicBezTo>
                <a:cubicBezTo>
                  <a:pt x="200" y="292"/>
                  <a:pt x="201" y="289"/>
                  <a:pt x="203" y="289"/>
                </a:cubicBezTo>
                <a:close/>
                <a:moveTo>
                  <a:pt x="193" y="264"/>
                </a:moveTo>
                <a:cubicBezTo>
                  <a:pt x="195" y="263"/>
                  <a:pt x="198" y="265"/>
                  <a:pt x="199" y="268"/>
                </a:cubicBezTo>
                <a:cubicBezTo>
                  <a:pt x="200" y="271"/>
                  <a:pt x="199" y="274"/>
                  <a:pt x="197" y="275"/>
                </a:cubicBezTo>
                <a:cubicBezTo>
                  <a:pt x="195" y="275"/>
                  <a:pt x="193" y="274"/>
                  <a:pt x="192" y="271"/>
                </a:cubicBezTo>
                <a:cubicBezTo>
                  <a:pt x="191" y="268"/>
                  <a:pt x="191" y="265"/>
                  <a:pt x="193" y="264"/>
                </a:cubicBezTo>
                <a:close/>
                <a:moveTo>
                  <a:pt x="184" y="239"/>
                </a:moveTo>
                <a:cubicBezTo>
                  <a:pt x="186" y="239"/>
                  <a:pt x="188" y="240"/>
                  <a:pt x="189" y="243"/>
                </a:cubicBezTo>
                <a:cubicBezTo>
                  <a:pt x="190" y="246"/>
                  <a:pt x="190" y="249"/>
                  <a:pt x="188" y="250"/>
                </a:cubicBezTo>
                <a:cubicBezTo>
                  <a:pt x="186" y="251"/>
                  <a:pt x="183" y="249"/>
                  <a:pt x="182" y="246"/>
                </a:cubicBezTo>
                <a:cubicBezTo>
                  <a:pt x="181" y="243"/>
                  <a:pt x="182" y="240"/>
                  <a:pt x="184" y="239"/>
                </a:cubicBezTo>
                <a:close/>
                <a:moveTo>
                  <a:pt x="175" y="214"/>
                </a:moveTo>
                <a:cubicBezTo>
                  <a:pt x="176" y="214"/>
                  <a:pt x="179" y="215"/>
                  <a:pt x="180" y="218"/>
                </a:cubicBezTo>
                <a:cubicBezTo>
                  <a:pt x="181" y="221"/>
                  <a:pt x="180" y="224"/>
                  <a:pt x="178" y="225"/>
                </a:cubicBezTo>
                <a:cubicBezTo>
                  <a:pt x="177" y="226"/>
                  <a:pt x="174" y="224"/>
                  <a:pt x="173" y="221"/>
                </a:cubicBezTo>
                <a:cubicBezTo>
                  <a:pt x="172" y="218"/>
                  <a:pt x="173" y="215"/>
                  <a:pt x="175" y="214"/>
                </a:cubicBezTo>
                <a:close/>
                <a:moveTo>
                  <a:pt x="165" y="189"/>
                </a:moveTo>
                <a:cubicBezTo>
                  <a:pt x="167" y="189"/>
                  <a:pt x="169" y="190"/>
                  <a:pt x="170" y="193"/>
                </a:cubicBezTo>
                <a:cubicBezTo>
                  <a:pt x="171" y="196"/>
                  <a:pt x="171" y="199"/>
                  <a:pt x="169" y="200"/>
                </a:cubicBezTo>
                <a:cubicBezTo>
                  <a:pt x="167" y="201"/>
                  <a:pt x="164" y="199"/>
                  <a:pt x="163" y="196"/>
                </a:cubicBezTo>
                <a:cubicBezTo>
                  <a:pt x="162" y="193"/>
                  <a:pt x="163" y="190"/>
                  <a:pt x="165" y="189"/>
                </a:cubicBezTo>
                <a:close/>
                <a:moveTo>
                  <a:pt x="155" y="165"/>
                </a:moveTo>
                <a:cubicBezTo>
                  <a:pt x="157" y="164"/>
                  <a:pt x="160" y="166"/>
                  <a:pt x="161" y="169"/>
                </a:cubicBezTo>
                <a:cubicBezTo>
                  <a:pt x="162" y="172"/>
                  <a:pt x="161" y="175"/>
                  <a:pt x="159" y="175"/>
                </a:cubicBezTo>
                <a:cubicBezTo>
                  <a:pt x="157" y="176"/>
                  <a:pt x="155" y="174"/>
                  <a:pt x="154" y="171"/>
                </a:cubicBezTo>
                <a:cubicBezTo>
                  <a:pt x="153" y="168"/>
                  <a:pt x="153" y="165"/>
                  <a:pt x="155" y="165"/>
                </a:cubicBezTo>
                <a:close/>
                <a:moveTo>
                  <a:pt x="146" y="140"/>
                </a:moveTo>
                <a:cubicBezTo>
                  <a:pt x="148" y="139"/>
                  <a:pt x="151" y="141"/>
                  <a:pt x="152" y="144"/>
                </a:cubicBezTo>
                <a:cubicBezTo>
                  <a:pt x="153" y="147"/>
                  <a:pt x="152" y="150"/>
                  <a:pt x="150" y="150"/>
                </a:cubicBezTo>
                <a:cubicBezTo>
                  <a:pt x="148" y="151"/>
                  <a:pt x="146" y="149"/>
                  <a:pt x="145" y="146"/>
                </a:cubicBezTo>
                <a:cubicBezTo>
                  <a:pt x="144" y="143"/>
                  <a:pt x="144" y="140"/>
                  <a:pt x="146" y="140"/>
                </a:cubicBezTo>
                <a:close/>
                <a:moveTo>
                  <a:pt x="137" y="115"/>
                </a:moveTo>
                <a:cubicBezTo>
                  <a:pt x="139" y="114"/>
                  <a:pt x="142" y="116"/>
                  <a:pt x="143" y="119"/>
                </a:cubicBezTo>
                <a:cubicBezTo>
                  <a:pt x="144" y="122"/>
                  <a:pt x="143" y="125"/>
                  <a:pt x="141" y="125"/>
                </a:cubicBezTo>
                <a:cubicBezTo>
                  <a:pt x="139" y="126"/>
                  <a:pt x="137" y="124"/>
                  <a:pt x="136" y="121"/>
                </a:cubicBezTo>
                <a:cubicBezTo>
                  <a:pt x="135" y="118"/>
                  <a:pt x="135" y="115"/>
                  <a:pt x="137" y="115"/>
                </a:cubicBezTo>
                <a:close/>
                <a:moveTo>
                  <a:pt x="140" y="129"/>
                </a:moveTo>
                <a:cubicBezTo>
                  <a:pt x="143" y="137"/>
                  <a:pt x="143" y="137"/>
                  <a:pt x="143" y="137"/>
                </a:cubicBezTo>
                <a:cubicBezTo>
                  <a:pt x="141" y="139"/>
                  <a:pt x="141" y="143"/>
                  <a:pt x="142" y="147"/>
                </a:cubicBezTo>
                <a:cubicBezTo>
                  <a:pt x="144" y="151"/>
                  <a:pt x="146" y="154"/>
                  <a:pt x="149" y="154"/>
                </a:cubicBezTo>
                <a:cubicBezTo>
                  <a:pt x="152" y="162"/>
                  <a:pt x="152" y="162"/>
                  <a:pt x="152" y="162"/>
                </a:cubicBezTo>
                <a:cubicBezTo>
                  <a:pt x="150" y="164"/>
                  <a:pt x="150" y="168"/>
                  <a:pt x="151" y="172"/>
                </a:cubicBezTo>
                <a:cubicBezTo>
                  <a:pt x="153" y="176"/>
                  <a:pt x="156" y="179"/>
                  <a:pt x="159" y="179"/>
                </a:cubicBezTo>
                <a:cubicBezTo>
                  <a:pt x="161" y="187"/>
                  <a:pt x="161" y="187"/>
                  <a:pt x="161" y="187"/>
                </a:cubicBezTo>
                <a:cubicBezTo>
                  <a:pt x="159" y="189"/>
                  <a:pt x="159" y="193"/>
                  <a:pt x="160" y="197"/>
                </a:cubicBezTo>
                <a:cubicBezTo>
                  <a:pt x="162" y="201"/>
                  <a:pt x="165" y="204"/>
                  <a:pt x="168" y="204"/>
                </a:cubicBezTo>
                <a:cubicBezTo>
                  <a:pt x="171" y="212"/>
                  <a:pt x="171" y="212"/>
                  <a:pt x="171" y="212"/>
                </a:cubicBezTo>
                <a:cubicBezTo>
                  <a:pt x="169" y="214"/>
                  <a:pt x="169" y="218"/>
                  <a:pt x="170" y="222"/>
                </a:cubicBezTo>
                <a:cubicBezTo>
                  <a:pt x="172" y="226"/>
                  <a:pt x="175" y="229"/>
                  <a:pt x="178" y="229"/>
                </a:cubicBezTo>
                <a:cubicBezTo>
                  <a:pt x="181" y="237"/>
                  <a:pt x="181" y="237"/>
                  <a:pt x="181" y="237"/>
                </a:cubicBezTo>
                <a:cubicBezTo>
                  <a:pt x="179" y="239"/>
                  <a:pt x="178" y="243"/>
                  <a:pt x="180" y="247"/>
                </a:cubicBezTo>
                <a:cubicBezTo>
                  <a:pt x="181" y="251"/>
                  <a:pt x="184" y="254"/>
                  <a:pt x="187" y="254"/>
                </a:cubicBezTo>
                <a:cubicBezTo>
                  <a:pt x="190" y="262"/>
                  <a:pt x="190" y="262"/>
                  <a:pt x="190" y="262"/>
                </a:cubicBezTo>
                <a:cubicBezTo>
                  <a:pt x="188" y="264"/>
                  <a:pt x="188" y="268"/>
                  <a:pt x="189" y="272"/>
                </a:cubicBezTo>
                <a:cubicBezTo>
                  <a:pt x="191" y="276"/>
                  <a:pt x="194" y="278"/>
                  <a:pt x="197" y="278"/>
                </a:cubicBezTo>
                <a:cubicBezTo>
                  <a:pt x="200" y="286"/>
                  <a:pt x="200" y="286"/>
                  <a:pt x="200" y="286"/>
                </a:cubicBezTo>
                <a:cubicBezTo>
                  <a:pt x="198" y="289"/>
                  <a:pt x="197" y="292"/>
                  <a:pt x="199" y="296"/>
                </a:cubicBezTo>
                <a:cubicBezTo>
                  <a:pt x="200" y="301"/>
                  <a:pt x="203" y="303"/>
                  <a:pt x="206" y="303"/>
                </a:cubicBezTo>
                <a:cubicBezTo>
                  <a:pt x="209" y="311"/>
                  <a:pt x="209" y="311"/>
                  <a:pt x="209" y="311"/>
                </a:cubicBezTo>
                <a:cubicBezTo>
                  <a:pt x="207" y="313"/>
                  <a:pt x="207" y="317"/>
                  <a:pt x="208" y="321"/>
                </a:cubicBezTo>
                <a:cubicBezTo>
                  <a:pt x="209" y="325"/>
                  <a:pt x="213" y="328"/>
                  <a:pt x="216" y="328"/>
                </a:cubicBezTo>
                <a:cubicBezTo>
                  <a:pt x="218" y="336"/>
                  <a:pt x="218" y="336"/>
                  <a:pt x="218" y="336"/>
                </a:cubicBezTo>
                <a:cubicBezTo>
                  <a:pt x="216" y="338"/>
                  <a:pt x="216" y="342"/>
                  <a:pt x="217" y="346"/>
                </a:cubicBezTo>
                <a:cubicBezTo>
                  <a:pt x="219" y="350"/>
                  <a:pt x="222" y="352"/>
                  <a:pt x="225" y="353"/>
                </a:cubicBezTo>
                <a:cubicBezTo>
                  <a:pt x="227" y="360"/>
                  <a:pt x="227" y="360"/>
                  <a:pt x="227" y="360"/>
                </a:cubicBezTo>
                <a:cubicBezTo>
                  <a:pt x="216" y="357"/>
                  <a:pt x="201" y="355"/>
                  <a:pt x="184" y="354"/>
                </a:cubicBezTo>
                <a:cubicBezTo>
                  <a:pt x="168" y="353"/>
                  <a:pt x="148" y="353"/>
                  <a:pt x="130" y="353"/>
                </a:cubicBezTo>
                <a:cubicBezTo>
                  <a:pt x="130" y="344"/>
                  <a:pt x="130" y="344"/>
                  <a:pt x="130" y="344"/>
                </a:cubicBezTo>
                <a:cubicBezTo>
                  <a:pt x="132" y="343"/>
                  <a:pt x="134" y="339"/>
                  <a:pt x="134" y="335"/>
                </a:cubicBezTo>
                <a:cubicBezTo>
                  <a:pt x="134" y="331"/>
                  <a:pt x="132" y="328"/>
                  <a:pt x="130" y="326"/>
                </a:cubicBezTo>
                <a:cubicBezTo>
                  <a:pt x="130" y="317"/>
                  <a:pt x="130" y="317"/>
                  <a:pt x="130" y="317"/>
                </a:cubicBezTo>
                <a:cubicBezTo>
                  <a:pt x="132" y="316"/>
                  <a:pt x="134" y="312"/>
                  <a:pt x="134" y="308"/>
                </a:cubicBezTo>
                <a:cubicBezTo>
                  <a:pt x="134" y="304"/>
                  <a:pt x="132" y="301"/>
                  <a:pt x="130" y="299"/>
                </a:cubicBezTo>
                <a:cubicBezTo>
                  <a:pt x="130" y="290"/>
                  <a:pt x="130" y="290"/>
                  <a:pt x="130" y="290"/>
                </a:cubicBezTo>
                <a:cubicBezTo>
                  <a:pt x="132" y="289"/>
                  <a:pt x="134" y="285"/>
                  <a:pt x="134" y="281"/>
                </a:cubicBezTo>
                <a:cubicBezTo>
                  <a:pt x="134" y="277"/>
                  <a:pt x="132" y="274"/>
                  <a:pt x="129" y="272"/>
                </a:cubicBezTo>
                <a:cubicBezTo>
                  <a:pt x="129" y="263"/>
                  <a:pt x="129" y="263"/>
                  <a:pt x="129" y="263"/>
                </a:cubicBezTo>
                <a:cubicBezTo>
                  <a:pt x="132" y="262"/>
                  <a:pt x="133" y="258"/>
                  <a:pt x="133" y="255"/>
                </a:cubicBezTo>
                <a:cubicBezTo>
                  <a:pt x="133" y="250"/>
                  <a:pt x="132" y="247"/>
                  <a:pt x="129" y="246"/>
                </a:cubicBezTo>
                <a:cubicBezTo>
                  <a:pt x="129" y="237"/>
                  <a:pt x="129" y="237"/>
                  <a:pt x="129" y="237"/>
                </a:cubicBezTo>
                <a:cubicBezTo>
                  <a:pt x="132" y="235"/>
                  <a:pt x="133" y="232"/>
                  <a:pt x="133" y="228"/>
                </a:cubicBezTo>
                <a:cubicBezTo>
                  <a:pt x="133" y="224"/>
                  <a:pt x="132" y="220"/>
                  <a:pt x="129" y="219"/>
                </a:cubicBezTo>
                <a:cubicBezTo>
                  <a:pt x="129" y="210"/>
                  <a:pt x="129" y="210"/>
                  <a:pt x="129" y="210"/>
                </a:cubicBezTo>
                <a:cubicBezTo>
                  <a:pt x="132" y="209"/>
                  <a:pt x="133" y="205"/>
                  <a:pt x="133" y="201"/>
                </a:cubicBezTo>
                <a:cubicBezTo>
                  <a:pt x="133" y="197"/>
                  <a:pt x="132" y="193"/>
                  <a:pt x="129" y="192"/>
                </a:cubicBezTo>
                <a:cubicBezTo>
                  <a:pt x="129" y="183"/>
                  <a:pt x="129" y="183"/>
                  <a:pt x="129" y="183"/>
                </a:cubicBezTo>
                <a:cubicBezTo>
                  <a:pt x="132" y="182"/>
                  <a:pt x="133" y="178"/>
                  <a:pt x="133" y="174"/>
                </a:cubicBezTo>
                <a:cubicBezTo>
                  <a:pt x="133" y="170"/>
                  <a:pt x="132" y="167"/>
                  <a:pt x="129" y="165"/>
                </a:cubicBezTo>
                <a:cubicBezTo>
                  <a:pt x="129" y="157"/>
                  <a:pt x="129" y="157"/>
                  <a:pt x="129" y="157"/>
                </a:cubicBezTo>
                <a:cubicBezTo>
                  <a:pt x="132" y="155"/>
                  <a:pt x="134" y="152"/>
                  <a:pt x="134" y="148"/>
                </a:cubicBezTo>
                <a:cubicBezTo>
                  <a:pt x="134" y="144"/>
                  <a:pt x="132" y="140"/>
                  <a:pt x="129" y="139"/>
                </a:cubicBezTo>
                <a:cubicBezTo>
                  <a:pt x="129" y="130"/>
                  <a:pt x="129" y="130"/>
                  <a:pt x="129" y="130"/>
                </a:cubicBezTo>
                <a:cubicBezTo>
                  <a:pt x="131" y="129"/>
                  <a:pt x="133" y="127"/>
                  <a:pt x="134" y="123"/>
                </a:cubicBezTo>
                <a:cubicBezTo>
                  <a:pt x="135" y="127"/>
                  <a:pt x="138" y="129"/>
                  <a:pt x="140" y="129"/>
                </a:cubicBezTo>
                <a:close/>
                <a:moveTo>
                  <a:pt x="719" y="318"/>
                </a:moveTo>
                <a:cubicBezTo>
                  <a:pt x="721" y="317"/>
                  <a:pt x="724" y="319"/>
                  <a:pt x="725" y="322"/>
                </a:cubicBezTo>
                <a:cubicBezTo>
                  <a:pt x="725" y="325"/>
                  <a:pt x="725" y="328"/>
                  <a:pt x="723" y="329"/>
                </a:cubicBezTo>
                <a:cubicBezTo>
                  <a:pt x="721" y="329"/>
                  <a:pt x="718" y="328"/>
                  <a:pt x="717" y="325"/>
                </a:cubicBezTo>
                <a:cubicBezTo>
                  <a:pt x="716" y="321"/>
                  <a:pt x="717" y="319"/>
                  <a:pt x="719" y="318"/>
                </a:cubicBezTo>
                <a:close/>
                <a:moveTo>
                  <a:pt x="711" y="293"/>
                </a:moveTo>
                <a:cubicBezTo>
                  <a:pt x="713" y="292"/>
                  <a:pt x="716" y="294"/>
                  <a:pt x="717" y="297"/>
                </a:cubicBezTo>
                <a:cubicBezTo>
                  <a:pt x="718" y="300"/>
                  <a:pt x="717" y="303"/>
                  <a:pt x="715" y="304"/>
                </a:cubicBezTo>
                <a:cubicBezTo>
                  <a:pt x="713" y="304"/>
                  <a:pt x="710" y="302"/>
                  <a:pt x="710" y="299"/>
                </a:cubicBezTo>
                <a:cubicBezTo>
                  <a:pt x="709" y="296"/>
                  <a:pt x="709" y="293"/>
                  <a:pt x="711" y="293"/>
                </a:cubicBezTo>
                <a:close/>
                <a:moveTo>
                  <a:pt x="703" y="267"/>
                </a:moveTo>
                <a:cubicBezTo>
                  <a:pt x="705" y="267"/>
                  <a:pt x="708" y="268"/>
                  <a:pt x="709" y="271"/>
                </a:cubicBezTo>
                <a:cubicBezTo>
                  <a:pt x="710" y="275"/>
                  <a:pt x="709" y="278"/>
                  <a:pt x="707" y="278"/>
                </a:cubicBezTo>
                <a:cubicBezTo>
                  <a:pt x="705" y="279"/>
                  <a:pt x="703" y="277"/>
                  <a:pt x="702" y="274"/>
                </a:cubicBezTo>
                <a:cubicBezTo>
                  <a:pt x="701" y="271"/>
                  <a:pt x="701" y="268"/>
                  <a:pt x="703" y="267"/>
                </a:cubicBezTo>
                <a:close/>
                <a:moveTo>
                  <a:pt x="696" y="242"/>
                </a:moveTo>
                <a:cubicBezTo>
                  <a:pt x="698" y="241"/>
                  <a:pt x="700" y="243"/>
                  <a:pt x="701" y="246"/>
                </a:cubicBezTo>
                <a:cubicBezTo>
                  <a:pt x="702" y="249"/>
                  <a:pt x="701" y="252"/>
                  <a:pt x="699" y="253"/>
                </a:cubicBezTo>
                <a:cubicBezTo>
                  <a:pt x="697" y="254"/>
                  <a:pt x="695" y="252"/>
                  <a:pt x="694" y="249"/>
                </a:cubicBezTo>
                <a:cubicBezTo>
                  <a:pt x="693" y="246"/>
                  <a:pt x="694" y="243"/>
                  <a:pt x="696" y="242"/>
                </a:cubicBezTo>
                <a:close/>
                <a:moveTo>
                  <a:pt x="688" y="217"/>
                </a:moveTo>
                <a:cubicBezTo>
                  <a:pt x="690" y="216"/>
                  <a:pt x="692" y="218"/>
                  <a:pt x="693" y="221"/>
                </a:cubicBezTo>
                <a:cubicBezTo>
                  <a:pt x="694" y="224"/>
                  <a:pt x="693" y="227"/>
                  <a:pt x="691" y="228"/>
                </a:cubicBezTo>
                <a:cubicBezTo>
                  <a:pt x="689" y="228"/>
                  <a:pt x="687" y="226"/>
                  <a:pt x="686" y="223"/>
                </a:cubicBezTo>
                <a:cubicBezTo>
                  <a:pt x="685" y="220"/>
                  <a:pt x="686" y="217"/>
                  <a:pt x="688" y="217"/>
                </a:cubicBezTo>
                <a:close/>
                <a:moveTo>
                  <a:pt x="680" y="191"/>
                </a:moveTo>
                <a:cubicBezTo>
                  <a:pt x="682" y="190"/>
                  <a:pt x="684" y="192"/>
                  <a:pt x="685" y="195"/>
                </a:cubicBezTo>
                <a:cubicBezTo>
                  <a:pt x="686" y="198"/>
                  <a:pt x="686" y="201"/>
                  <a:pt x="684" y="202"/>
                </a:cubicBezTo>
                <a:cubicBezTo>
                  <a:pt x="682" y="202"/>
                  <a:pt x="679" y="200"/>
                  <a:pt x="678" y="197"/>
                </a:cubicBezTo>
                <a:cubicBezTo>
                  <a:pt x="677" y="194"/>
                  <a:pt x="678" y="191"/>
                  <a:pt x="680" y="191"/>
                </a:cubicBezTo>
                <a:close/>
                <a:moveTo>
                  <a:pt x="672" y="166"/>
                </a:moveTo>
                <a:cubicBezTo>
                  <a:pt x="674" y="165"/>
                  <a:pt x="676" y="167"/>
                  <a:pt x="677" y="170"/>
                </a:cubicBezTo>
                <a:cubicBezTo>
                  <a:pt x="678" y="173"/>
                  <a:pt x="678" y="176"/>
                  <a:pt x="676" y="177"/>
                </a:cubicBezTo>
                <a:cubicBezTo>
                  <a:pt x="674" y="177"/>
                  <a:pt x="671" y="175"/>
                  <a:pt x="670" y="172"/>
                </a:cubicBezTo>
                <a:cubicBezTo>
                  <a:pt x="669" y="169"/>
                  <a:pt x="670" y="166"/>
                  <a:pt x="672" y="166"/>
                </a:cubicBezTo>
                <a:close/>
                <a:moveTo>
                  <a:pt x="664" y="140"/>
                </a:moveTo>
                <a:cubicBezTo>
                  <a:pt x="666" y="140"/>
                  <a:pt x="668" y="142"/>
                  <a:pt x="669" y="145"/>
                </a:cubicBezTo>
                <a:cubicBezTo>
                  <a:pt x="670" y="148"/>
                  <a:pt x="669" y="151"/>
                  <a:pt x="667" y="151"/>
                </a:cubicBezTo>
                <a:cubicBezTo>
                  <a:pt x="665" y="152"/>
                  <a:pt x="663" y="150"/>
                  <a:pt x="662" y="147"/>
                </a:cubicBezTo>
                <a:cubicBezTo>
                  <a:pt x="661" y="144"/>
                  <a:pt x="662" y="141"/>
                  <a:pt x="664" y="140"/>
                </a:cubicBezTo>
                <a:close/>
                <a:moveTo>
                  <a:pt x="655" y="115"/>
                </a:moveTo>
                <a:cubicBezTo>
                  <a:pt x="657" y="115"/>
                  <a:pt x="660" y="116"/>
                  <a:pt x="661" y="120"/>
                </a:cubicBezTo>
                <a:cubicBezTo>
                  <a:pt x="662" y="123"/>
                  <a:pt x="661" y="125"/>
                  <a:pt x="659" y="126"/>
                </a:cubicBezTo>
                <a:cubicBezTo>
                  <a:pt x="657" y="127"/>
                  <a:pt x="655" y="125"/>
                  <a:pt x="654" y="122"/>
                </a:cubicBezTo>
                <a:cubicBezTo>
                  <a:pt x="653" y="119"/>
                  <a:pt x="653" y="116"/>
                  <a:pt x="655" y="115"/>
                </a:cubicBezTo>
                <a:close/>
                <a:moveTo>
                  <a:pt x="643" y="116"/>
                </a:moveTo>
                <a:cubicBezTo>
                  <a:pt x="645" y="116"/>
                  <a:pt x="647" y="118"/>
                  <a:pt x="647" y="121"/>
                </a:cubicBezTo>
                <a:cubicBezTo>
                  <a:pt x="647" y="125"/>
                  <a:pt x="645" y="127"/>
                  <a:pt x="643" y="127"/>
                </a:cubicBezTo>
                <a:cubicBezTo>
                  <a:pt x="641" y="127"/>
                  <a:pt x="639" y="125"/>
                  <a:pt x="639" y="121"/>
                </a:cubicBezTo>
                <a:cubicBezTo>
                  <a:pt x="639" y="118"/>
                  <a:pt x="641" y="116"/>
                  <a:pt x="643" y="116"/>
                </a:cubicBezTo>
                <a:close/>
                <a:moveTo>
                  <a:pt x="643" y="287"/>
                </a:moveTo>
                <a:cubicBezTo>
                  <a:pt x="641" y="287"/>
                  <a:pt x="639" y="285"/>
                  <a:pt x="639" y="281"/>
                </a:cubicBezTo>
                <a:cubicBezTo>
                  <a:pt x="639" y="278"/>
                  <a:pt x="641" y="276"/>
                  <a:pt x="643" y="276"/>
                </a:cubicBezTo>
                <a:cubicBezTo>
                  <a:pt x="645" y="276"/>
                  <a:pt x="647" y="278"/>
                  <a:pt x="647" y="281"/>
                </a:cubicBezTo>
                <a:cubicBezTo>
                  <a:pt x="647" y="285"/>
                  <a:pt x="645" y="287"/>
                  <a:pt x="643" y="287"/>
                </a:cubicBezTo>
                <a:close/>
                <a:moveTo>
                  <a:pt x="646" y="308"/>
                </a:moveTo>
                <a:cubicBezTo>
                  <a:pt x="646" y="311"/>
                  <a:pt x="644" y="314"/>
                  <a:pt x="642" y="314"/>
                </a:cubicBezTo>
                <a:cubicBezTo>
                  <a:pt x="640" y="314"/>
                  <a:pt x="639" y="311"/>
                  <a:pt x="639" y="308"/>
                </a:cubicBezTo>
                <a:cubicBezTo>
                  <a:pt x="639" y="305"/>
                  <a:pt x="640" y="302"/>
                  <a:pt x="642" y="302"/>
                </a:cubicBezTo>
                <a:cubicBezTo>
                  <a:pt x="644" y="302"/>
                  <a:pt x="646" y="305"/>
                  <a:pt x="646" y="308"/>
                </a:cubicBezTo>
                <a:close/>
                <a:moveTo>
                  <a:pt x="643" y="260"/>
                </a:moveTo>
                <a:cubicBezTo>
                  <a:pt x="641" y="260"/>
                  <a:pt x="639" y="258"/>
                  <a:pt x="639" y="255"/>
                </a:cubicBezTo>
                <a:cubicBezTo>
                  <a:pt x="639" y="251"/>
                  <a:pt x="641" y="249"/>
                  <a:pt x="643" y="249"/>
                </a:cubicBezTo>
                <a:cubicBezTo>
                  <a:pt x="645" y="249"/>
                  <a:pt x="647" y="251"/>
                  <a:pt x="647" y="255"/>
                </a:cubicBezTo>
                <a:cubicBezTo>
                  <a:pt x="647" y="258"/>
                  <a:pt x="645" y="260"/>
                  <a:pt x="643" y="260"/>
                </a:cubicBezTo>
                <a:close/>
                <a:moveTo>
                  <a:pt x="643" y="234"/>
                </a:moveTo>
                <a:cubicBezTo>
                  <a:pt x="641" y="234"/>
                  <a:pt x="640" y="231"/>
                  <a:pt x="640" y="228"/>
                </a:cubicBezTo>
                <a:cubicBezTo>
                  <a:pt x="640" y="225"/>
                  <a:pt x="641" y="222"/>
                  <a:pt x="643" y="222"/>
                </a:cubicBezTo>
                <a:cubicBezTo>
                  <a:pt x="645" y="222"/>
                  <a:pt x="647" y="225"/>
                  <a:pt x="647" y="228"/>
                </a:cubicBezTo>
                <a:cubicBezTo>
                  <a:pt x="647" y="231"/>
                  <a:pt x="645" y="234"/>
                  <a:pt x="643" y="234"/>
                </a:cubicBezTo>
                <a:close/>
                <a:moveTo>
                  <a:pt x="643" y="207"/>
                </a:moveTo>
                <a:cubicBezTo>
                  <a:pt x="641" y="207"/>
                  <a:pt x="640" y="204"/>
                  <a:pt x="640" y="201"/>
                </a:cubicBezTo>
                <a:cubicBezTo>
                  <a:pt x="640" y="198"/>
                  <a:pt x="641" y="195"/>
                  <a:pt x="643" y="195"/>
                </a:cubicBezTo>
                <a:cubicBezTo>
                  <a:pt x="645" y="195"/>
                  <a:pt x="647" y="198"/>
                  <a:pt x="647" y="201"/>
                </a:cubicBezTo>
                <a:cubicBezTo>
                  <a:pt x="647" y="204"/>
                  <a:pt x="645" y="207"/>
                  <a:pt x="643" y="207"/>
                </a:cubicBezTo>
                <a:close/>
                <a:moveTo>
                  <a:pt x="643" y="180"/>
                </a:moveTo>
                <a:cubicBezTo>
                  <a:pt x="641" y="180"/>
                  <a:pt x="639" y="177"/>
                  <a:pt x="639" y="174"/>
                </a:cubicBezTo>
                <a:cubicBezTo>
                  <a:pt x="639" y="171"/>
                  <a:pt x="641" y="168"/>
                  <a:pt x="643" y="168"/>
                </a:cubicBezTo>
                <a:cubicBezTo>
                  <a:pt x="645" y="168"/>
                  <a:pt x="647" y="171"/>
                  <a:pt x="647" y="174"/>
                </a:cubicBezTo>
                <a:cubicBezTo>
                  <a:pt x="647" y="177"/>
                  <a:pt x="645" y="180"/>
                  <a:pt x="643" y="180"/>
                </a:cubicBezTo>
                <a:close/>
                <a:moveTo>
                  <a:pt x="643" y="153"/>
                </a:moveTo>
                <a:cubicBezTo>
                  <a:pt x="641" y="153"/>
                  <a:pt x="639" y="151"/>
                  <a:pt x="639" y="148"/>
                </a:cubicBezTo>
                <a:cubicBezTo>
                  <a:pt x="639" y="145"/>
                  <a:pt x="641" y="142"/>
                  <a:pt x="643" y="142"/>
                </a:cubicBezTo>
                <a:cubicBezTo>
                  <a:pt x="645" y="142"/>
                  <a:pt x="647" y="145"/>
                  <a:pt x="647" y="148"/>
                </a:cubicBezTo>
                <a:cubicBezTo>
                  <a:pt x="647" y="151"/>
                  <a:pt x="645" y="153"/>
                  <a:pt x="643" y="153"/>
                </a:cubicBezTo>
                <a:close/>
                <a:moveTo>
                  <a:pt x="639" y="103"/>
                </a:moveTo>
                <a:cubicBezTo>
                  <a:pt x="639" y="103"/>
                  <a:pt x="640" y="103"/>
                  <a:pt x="640" y="103"/>
                </a:cubicBezTo>
                <a:cubicBezTo>
                  <a:pt x="640" y="103"/>
                  <a:pt x="640" y="103"/>
                  <a:pt x="641" y="103"/>
                </a:cubicBezTo>
                <a:cubicBezTo>
                  <a:pt x="641" y="112"/>
                  <a:pt x="641" y="112"/>
                  <a:pt x="641" y="112"/>
                </a:cubicBezTo>
                <a:cubicBezTo>
                  <a:pt x="639" y="113"/>
                  <a:pt x="638" y="114"/>
                  <a:pt x="637" y="116"/>
                </a:cubicBezTo>
                <a:cubicBezTo>
                  <a:pt x="637" y="114"/>
                  <a:pt x="637" y="113"/>
                  <a:pt x="636" y="112"/>
                </a:cubicBezTo>
                <a:lnTo>
                  <a:pt x="639" y="103"/>
                </a:lnTo>
                <a:close/>
                <a:moveTo>
                  <a:pt x="627" y="119"/>
                </a:moveTo>
                <a:cubicBezTo>
                  <a:pt x="628" y="116"/>
                  <a:pt x="631" y="114"/>
                  <a:pt x="633" y="115"/>
                </a:cubicBezTo>
                <a:cubicBezTo>
                  <a:pt x="635" y="115"/>
                  <a:pt x="635" y="118"/>
                  <a:pt x="634" y="121"/>
                </a:cubicBezTo>
                <a:cubicBezTo>
                  <a:pt x="633" y="124"/>
                  <a:pt x="631" y="126"/>
                  <a:pt x="629" y="125"/>
                </a:cubicBezTo>
                <a:cubicBezTo>
                  <a:pt x="627" y="125"/>
                  <a:pt x="626" y="122"/>
                  <a:pt x="627" y="119"/>
                </a:cubicBezTo>
                <a:close/>
                <a:moveTo>
                  <a:pt x="618" y="144"/>
                </a:moveTo>
                <a:cubicBezTo>
                  <a:pt x="619" y="141"/>
                  <a:pt x="622" y="139"/>
                  <a:pt x="624" y="140"/>
                </a:cubicBezTo>
                <a:cubicBezTo>
                  <a:pt x="626" y="140"/>
                  <a:pt x="626" y="143"/>
                  <a:pt x="625" y="146"/>
                </a:cubicBezTo>
                <a:cubicBezTo>
                  <a:pt x="624" y="149"/>
                  <a:pt x="622" y="151"/>
                  <a:pt x="620" y="150"/>
                </a:cubicBezTo>
                <a:cubicBezTo>
                  <a:pt x="618" y="150"/>
                  <a:pt x="617" y="147"/>
                  <a:pt x="618" y="144"/>
                </a:cubicBezTo>
                <a:close/>
                <a:moveTo>
                  <a:pt x="609" y="169"/>
                </a:moveTo>
                <a:cubicBezTo>
                  <a:pt x="610" y="166"/>
                  <a:pt x="613" y="164"/>
                  <a:pt x="615" y="165"/>
                </a:cubicBezTo>
                <a:cubicBezTo>
                  <a:pt x="617" y="165"/>
                  <a:pt x="617" y="168"/>
                  <a:pt x="616" y="171"/>
                </a:cubicBezTo>
                <a:cubicBezTo>
                  <a:pt x="615" y="174"/>
                  <a:pt x="613" y="176"/>
                  <a:pt x="611" y="175"/>
                </a:cubicBezTo>
                <a:cubicBezTo>
                  <a:pt x="609" y="175"/>
                  <a:pt x="608" y="172"/>
                  <a:pt x="609" y="169"/>
                </a:cubicBezTo>
                <a:close/>
                <a:moveTo>
                  <a:pt x="600" y="193"/>
                </a:moveTo>
                <a:cubicBezTo>
                  <a:pt x="601" y="190"/>
                  <a:pt x="603" y="189"/>
                  <a:pt x="605" y="189"/>
                </a:cubicBezTo>
                <a:cubicBezTo>
                  <a:pt x="607" y="190"/>
                  <a:pt x="608" y="193"/>
                  <a:pt x="607" y="196"/>
                </a:cubicBezTo>
                <a:cubicBezTo>
                  <a:pt x="606" y="199"/>
                  <a:pt x="603" y="201"/>
                  <a:pt x="601" y="200"/>
                </a:cubicBezTo>
                <a:cubicBezTo>
                  <a:pt x="600" y="199"/>
                  <a:pt x="599" y="196"/>
                  <a:pt x="600" y="193"/>
                </a:cubicBezTo>
                <a:close/>
                <a:moveTo>
                  <a:pt x="590" y="218"/>
                </a:moveTo>
                <a:cubicBezTo>
                  <a:pt x="591" y="215"/>
                  <a:pt x="594" y="214"/>
                  <a:pt x="596" y="214"/>
                </a:cubicBezTo>
                <a:cubicBezTo>
                  <a:pt x="597" y="215"/>
                  <a:pt x="598" y="218"/>
                  <a:pt x="597" y="221"/>
                </a:cubicBezTo>
                <a:cubicBezTo>
                  <a:pt x="596" y="224"/>
                  <a:pt x="594" y="226"/>
                  <a:pt x="592" y="225"/>
                </a:cubicBezTo>
                <a:cubicBezTo>
                  <a:pt x="590" y="224"/>
                  <a:pt x="589" y="221"/>
                  <a:pt x="590" y="218"/>
                </a:cubicBezTo>
                <a:close/>
                <a:moveTo>
                  <a:pt x="581" y="243"/>
                </a:moveTo>
                <a:cubicBezTo>
                  <a:pt x="582" y="240"/>
                  <a:pt x="584" y="239"/>
                  <a:pt x="586" y="239"/>
                </a:cubicBezTo>
                <a:cubicBezTo>
                  <a:pt x="588" y="240"/>
                  <a:pt x="589" y="243"/>
                  <a:pt x="588" y="246"/>
                </a:cubicBezTo>
                <a:cubicBezTo>
                  <a:pt x="587" y="249"/>
                  <a:pt x="584" y="251"/>
                  <a:pt x="582" y="250"/>
                </a:cubicBezTo>
                <a:cubicBezTo>
                  <a:pt x="580" y="249"/>
                  <a:pt x="580" y="246"/>
                  <a:pt x="581" y="243"/>
                </a:cubicBezTo>
                <a:close/>
                <a:moveTo>
                  <a:pt x="571" y="268"/>
                </a:moveTo>
                <a:cubicBezTo>
                  <a:pt x="572" y="265"/>
                  <a:pt x="575" y="263"/>
                  <a:pt x="577" y="264"/>
                </a:cubicBezTo>
                <a:cubicBezTo>
                  <a:pt x="579" y="265"/>
                  <a:pt x="579" y="268"/>
                  <a:pt x="578" y="271"/>
                </a:cubicBezTo>
                <a:cubicBezTo>
                  <a:pt x="577" y="274"/>
                  <a:pt x="575" y="275"/>
                  <a:pt x="573" y="275"/>
                </a:cubicBezTo>
                <a:cubicBezTo>
                  <a:pt x="571" y="274"/>
                  <a:pt x="570" y="271"/>
                  <a:pt x="571" y="268"/>
                </a:cubicBezTo>
                <a:close/>
                <a:moveTo>
                  <a:pt x="562" y="293"/>
                </a:moveTo>
                <a:cubicBezTo>
                  <a:pt x="563" y="290"/>
                  <a:pt x="565" y="288"/>
                  <a:pt x="567" y="289"/>
                </a:cubicBezTo>
                <a:cubicBezTo>
                  <a:pt x="569" y="289"/>
                  <a:pt x="570" y="292"/>
                  <a:pt x="569" y="295"/>
                </a:cubicBezTo>
                <a:cubicBezTo>
                  <a:pt x="568" y="298"/>
                  <a:pt x="565" y="300"/>
                  <a:pt x="563" y="300"/>
                </a:cubicBezTo>
                <a:cubicBezTo>
                  <a:pt x="561" y="299"/>
                  <a:pt x="561" y="296"/>
                  <a:pt x="562" y="293"/>
                </a:cubicBezTo>
                <a:close/>
                <a:moveTo>
                  <a:pt x="552" y="318"/>
                </a:moveTo>
                <a:cubicBezTo>
                  <a:pt x="553" y="315"/>
                  <a:pt x="556" y="313"/>
                  <a:pt x="558" y="313"/>
                </a:cubicBezTo>
                <a:cubicBezTo>
                  <a:pt x="560" y="314"/>
                  <a:pt x="560" y="317"/>
                  <a:pt x="559" y="320"/>
                </a:cubicBezTo>
                <a:cubicBezTo>
                  <a:pt x="558" y="323"/>
                  <a:pt x="556" y="325"/>
                  <a:pt x="554" y="324"/>
                </a:cubicBezTo>
                <a:cubicBezTo>
                  <a:pt x="552" y="324"/>
                  <a:pt x="551" y="321"/>
                  <a:pt x="552" y="318"/>
                </a:cubicBezTo>
                <a:close/>
                <a:moveTo>
                  <a:pt x="543" y="342"/>
                </a:moveTo>
                <a:cubicBezTo>
                  <a:pt x="544" y="339"/>
                  <a:pt x="547" y="337"/>
                  <a:pt x="548" y="338"/>
                </a:cubicBezTo>
                <a:cubicBezTo>
                  <a:pt x="550" y="339"/>
                  <a:pt x="551" y="342"/>
                  <a:pt x="550" y="345"/>
                </a:cubicBezTo>
                <a:cubicBezTo>
                  <a:pt x="549" y="348"/>
                  <a:pt x="546" y="350"/>
                  <a:pt x="545" y="349"/>
                </a:cubicBezTo>
                <a:cubicBezTo>
                  <a:pt x="543" y="348"/>
                  <a:pt x="542" y="345"/>
                  <a:pt x="543" y="342"/>
                </a:cubicBezTo>
                <a:close/>
                <a:moveTo>
                  <a:pt x="640" y="353"/>
                </a:moveTo>
                <a:cubicBezTo>
                  <a:pt x="622" y="353"/>
                  <a:pt x="602" y="353"/>
                  <a:pt x="586" y="354"/>
                </a:cubicBezTo>
                <a:cubicBezTo>
                  <a:pt x="569" y="355"/>
                  <a:pt x="554" y="357"/>
                  <a:pt x="543" y="360"/>
                </a:cubicBezTo>
                <a:cubicBezTo>
                  <a:pt x="545" y="353"/>
                  <a:pt x="545" y="353"/>
                  <a:pt x="545" y="353"/>
                </a:cubicBezTo>
                <a:cubicBezTo>
                  <a:pt x="548" y="352"/>
                  <a:pt x="551" y="350"/>
                  <a:pt x="553" y="346"/>
                </a:cubicBezTo>
                <a:cubicBezTo>
                  <a:pt x="554" y="342"/>
                  <a:pt x="554" y="338"/>
                  <a:pt x="552" y="336"/>
                </a:cubicBezTo>
                <a:cubicBezTo>
                  <a:pt x="554" y="328"/>
                  <a:pt x="554" y="328"/>
                  <a:pt x="554" y="328"/>
                </a:cubicBezTo>
                <a:cubicBezTo>
                  <a:pt x="557" y="328"/>
                  <a:pt x="561" y="325"/>
                  <a:pt x="562" y="321"/>
                </a:cubicBezTo>
                <a:cubicBezTo>
                  <a:pt x="564" y="317"/>
                  <a:pt x="563" y="313"/>
                  <a:pt x="561" y="311"/>
                </a:cubicBezTo>
                <a:cubicBezTo>
                  <a:pt x="564" y="303"/>
                  <a:pt x="564" y="303"/>
                  <a:pt x="564" y="303"/>
                </a:cubicBezTo>
                <a:cubicBezTo>
                  <a:pt x="567" y="303"/>
                  <a:pt x="570" y="301"/>
                  <a:pt x="571" y="296"/>
                </a:cubicBezTo>
                <a:cubicBezTo>
                  <a:pt x="573" y="292"/>
                  <a:pt x="572" y="289"/>
                  <a:pt x="570" y="286"/>
                </a:cubicBezTo>
                <a:cubicBezTo>
                  <a:pt x="573" y="278"/>
                  <a:pt x="573" y="278"/>
                  <a:pt x="573" y="278"/>
                </a:cubicBezTo>
                <a:cubicBezTo>
                  <a:pt x="576" y="278"/>
                  <a:pt x="579" y="276"/>
                  <a:pt x="581" y="272"/>
                </a:cubicBezTo>
                <a:cubicBezTo>
                  <a:pt x="582" y="268"/>
                  <a:pt x="582" y="264"/>
                  <a:pt x="580" y="262"/>
                </a:cubicBezTo>
                <a:cubicBezTo>
                  <a:pt x="583" y="254"/>
                  <a:pt x="583" y="254"/>
                  <a:pt x="583" y="254"/>
                </a:cubicBezTo>
                <a:cubicBezTo>
                  <a:pt x="586" y="254"/>
                  <a:pt x="589" y="251"/>
                  <a:pt x="590" y="247"/>
                </a:cubicBezTo>
                <a:cubicBezTo>
                  <a:pt x="592" y="243"/>
                  <a:pt x="591" y="239"/>
                  <a:pt x="589" y="237"/>
                </a:cubicBezTo>
                <a:cubicBezTo>
                  <a:pt x="592" y="229"/>
                  <a:pt x="592" y="229"/>
                  <a:pt x="592" y="229"/>
                </a:cubicBezTo>
                <a:cubicBezTo>
                  <a:pt x="595" y="229"/>
                  <a:pt x="598" y="226"/>
                  <a:pt x="600" y="222"/>
                </a:cubicBezTo>
                <a:cubicBezTo>
                  <a:pt x="601" y="218"/>
                  <a:pt x="601" y="214"/>
                  <a:pt x="599" y="212"/>
                </a:cubicBezTo>
                <a:cubicBezTo>
                  <a:pt x="602" y="204"/>
                  <a:pt x="602" y="204"/>
                  <a:pt x="602" y="204"/>
                </a:cubicBezTo>
                <a:cubicBezTo>
                  <a:pt x="605" y="204"/>
                  <a:pt x="608" y="201"/>
                  <a:pt x="610" y="197"/>
                </a:cubicBezTo>
                <a:cubicBezTo>
                  <a:pt x="611" y="193"/>
                  <a:pt x="611" y="189"/>
                  <a:pt x="609" y="187"/>
                </a:cubicBezTo>
                <a:cubicBezTo>
                  <a:pt x="611" y="179"/>
                  <a:pt x="611" y="179"/>
                  <a:pt x="611" y="179"/>
                </a:cubicBezTo>
                <a:cubicBezTo>
                  <a:pt x="614" y="179"/>
                  <a:pt x="618" y="176"/>
                  <a:pt x="619" y="172"/>
                </a:cubicBezTo>
                <a:cubicBezTo>
                  <a:pt x="620" y="168"/>
                  <a:pt x="620" y="164"/>
                  <a:pt x="618" y="162"/>
                </a:cubicBezTo>
                <a:cubicBezTo>
                  <a:pt x="621" y="154"/>
                  <a:pt x="621" y="154"/>
                  <a:pt x="621" y="154"/>
                </a:cubicBezTo>
                <a:cubicBezTo>
                  <a:pt x="624" y="154"/>
                  <a:pt x="626" y="151"/>
                  <a:pt x="628" y="147"/>
                </a:cubicBezTo>
                <a:cubicBezTo>
                  <a:pt x="629" y="143"/>
                  <a:pt x="629" y="139"/>
                  <a:pt x="627" y="137"/>
                </a:cubicBezTo>
                <a:cubicBezTo>
                  <a:pt x="630" y="129"/>
                  <a:pt x="630" y="129"/>
                  <a:pt x="630" y="129"/>
                </a:cubicBezTo>
                <a:cubicBezTo>
                  <a:pt x="632" y="129"/>
                  <a:pt x="635" y="127"/>
                  <a:pt x="636" y="123"/>
                </a:cubicBezTo>
                <a:cubicBezTo>
                  <a:pt x="637" y="127"/>
                  <a:pt x="639" y="129"/>
                  <a:pt x="641" y="130"/>
                </a:cubicBezTo>
                <a:cubicBezTo>
                  <a:pt x="641" y="139"/>
                  <a:pt x="641" y="139"/>
                  <a:pt x="641" y="139"/>
                </a:cubicBezTo>
                <a:cubicBezTo>
                  <a:pt x="638" y="140"/>
                  <a:pt x="636" y="144"/>
                  <a:pt x="636" y="148"/>
                </a:cubicBezTo>
                <a:cubicBezTo>
                  <a:pt x="636" y="152"/>
                  <a:pt x="638" y="155"/>
                  <a:pt x="641" y="157"/>
                </a:cubicBezTo>
                <a:cubicBezTo>
                  <a:pt x="641" y="165"/>
                  <a:pt x="641" y="165"/>
                  <a:pt x="641" y="165"/>
                </a:cubicBezTo>
                <a:cubicBezTo>
                  <a:pt x="638" y="167"/>
                  <a:pt x="637" y="170"/>
                  <a:pt x="637" y="174"/>
                </a:cubicBezTo>
                <a:cubicBezTo>
                  <a:pt x="637" y="178"/>
                  <a:pt x="638" y="182"/>
                  <a:pt x="641" y="183"/>
                </a:cubicBezTo>
                <a:cubicBezTo>
                  <a:pt x="641" y="192"/>
                  <a:pt x="641" y="192"/>
                  <a:pt x="641" y="192"/>
                </a:cubicBezTo>
                <a:cubicBezTo>
                  <a:pt x="638" y="193"/>
                  <a:pt x="637" y="197"/>
                  <a:pt x="637" y="201"/>
                </a:cubicBezTo>
                <a:cubicBezTo>
                  <a:pt x="637" y="205"/>
                  <a:pt x="638" y="209"/>
                  <a:pt x="641" y="210"/>
                </a:cubicBezTo>
                <a:cubicBezTo>
                  <a:pt x="641" y="219"/>
                  <a:pt x="641" y="219"/>
                  <a:pt x="641" y="219"/>
                </a:cubicBezTo>
                <a:cubicBezTo>
                  <a:pt x="638" y="220"/>
                  <a:pt x="637" y="224"/>
                  <a:pt x="637" y="228"/>
                </a:cubicBezTo>
                <a:cubicBezTo>
                  <a:pt x="637" y="232"/>
                  <a:pt x="638" y="235"/>
                  <a:pt x="641" y="237"/>
                </a:cubicBezTo>
                <a:cubicBezTo>
                  <a:pt x="641" y="246"/>
                  <a:pt x="641" y="246"/>
                  <a:pt x="641" y="246"/>
                </a:cubicBezTo>
                <a:cubicBezTo>
                  <a:pt x="638" y="247"/>
                  <a:pt x="637" y="250"/>
                  <a:pt x="637" y="255"/>
                </a:cubicBezTo>
                <a:cubicBezTo>
                  <a:pt x="637" y="258"/>
                  <a:pt x="638" y="262"/>
                  <a:pt x="641" y="263"/>
                </a:cubicBezTo>
                <a:cubicBezTo>
                  <a:pt x="641" y="272"/>
                  <a:pt x="641" y="272"/>
                  <a:pt x="641" y="272"/>
                </a:cubicBezTo>
                <a:cubicBezTo>
                  <a:pt x="638" y="274"/>
                  <a:pt x="636" y="277"/>
                  <a:pt x="636" y="281"/>
                </a:cubicBezTo>
                <a:cubicBezTo>
                  <a:pt x="636" y="285"/>
                  <a:pt x="638" y="289"/>
                  <a:pt x="640" y="290"/>
                </a:cubicBezTo>
                <a:cubicBezTo>
                  <a:pt x="640" y="299"/>
                  <a:pt x="640" y="299"/>
                  <a:pt x="640" y="299"/>
                </a:cubicBezTo>
                <a:cubicBezTo>
                  <a:pt x="638" y="301"/>
                  <a:pt x="636" y="304"/>
                  <a:pt x="636" y="308"/>
                </a:cubicBezTo>
                <a:cubicBezTo>
                  <a:pt x="636" y="312"/>
                  <a:pt x="638" y="316"/>
                  <a:pt x="640" y="317"/>
                </a:cubicBezTo>
                <a:cubicBezTo>
                  <a:pt x="640" y="326"/>
                  <a:pt x="640" y="326"/>
                  <a:pt x="640" y="326"/>
                </a:cubicBezTo>
                <a:cubicBezTo>
                  <a:pt x="638" y="328"/>
                  <a:pt x="636" y="331"/>
                  <a:pt x="636" y="335"/>
                </a:cubicBezTo>
                <a:cubicBezTo>
                  <a:pt x="636" y="339"/>
                  <a:pt x="638" y="343"/>
                  <a:pt x="640" y="344"/>
                </a:cubicBezTo>
                <a:lnTo>
                  <a:pt x="640" y="353"/>
                </a:lnTo>
                <a:close/>
                <a:moveTo>
                  <a:pt x="642" y="341"/>
                </a:moveTo>
                <a:cubicBezTo>
                  <a:pt x="640" y="341"/>
                  <a:pt x="639" y="338"/>
                  <a:pt x="639" y="335"/>
                </a:cubicBezTo>
                <a:cubicBezTo>
                  <a:pt x="639" y="332"/>
                  <a:pt x="640" y="330"/>
                  <a:pt x="642" y="330"/>
                </a:cubicBezTo>
                <a:cubicBezTo>
                  <a:pt x="645" y="330"/>
                  <a:pt x="646" y="332"/>
                  <a:pt x="646" y="335"/>
                </a:cubicBezTo>
                <a:cubicBezTo>
                  <a:pt x="646" y="338"/>
                  <a:pt x="645" y="341"/>
                  <a:pt x="642" y="341"/>
                </a:cubicBezTo>
                <a:close/>
                <a:moveTo>
                  <a:pt x="696" y="358"/>
                </a:moveTo>
                <a:cubicBezTo>
                  <a:pt x="680" y="355"/>
                  <a:pt x="663" y="354"/>
                  <a:pt x="644" y="353"/>
                </a:cubicBezTo>
                <a:cubicBezTo>
                  <a:pt x="644" y="344"/>
                  <a:pt x="644" y="344"/>
                  <a:pt x="644" y="344"/>
                </a:cubicBezTo>
                <a:cubicBezTo>
                  <a:pt x="647" y="343"/>
                  <a:pt x="649" y="340"/>
                  <a:pt x="649" y="335"/>
                </a:cubicBezTo>
                <a:cubicBezTo>
                  <a:pt x="649" y="331"/>
                  <a:pt x="647" y="328"/>
                  <a:pt x="645" y="326"/>
                </a:cubicBezTo>
                <a:cubicBezTo>
                  <a:pt x="645" y="317"/>
                  <a:pt x="645" y="317"/>
                  <a:pt x="645" y="317"/>
                </a:cubicBezTo>
                <a:cubicBezTo>
                  <a:pt x="647" y="316"/>
                  <a:pt x="649" y="312"/>
                  <a:pt x="649" y="308"/>
                </a:cubicBezTo>
                <a:cubicBezTo>
                  <a:pt x="649" y="304"/>
                  <a:pt x="647" y="300"/>
                  <a:pt x="645" y="299"/>
                </a:cubicBezTo>
                <a:cubicBezTo>
                  <a:pt x="645" y="291"/>
                  <a:pt x="645" y="291"/>
                  <a:pt x="645" y="291"/>
                </a:cubicBezTo>
                <a:cubicBezTo>
                  <a:pt x="647" y="290"/>
                  <a:pt x="649" y="286"/>
                  <a:pt x="649" y="281"/>
                </a:cubicBezTo>
                <a:cubicBezTo>
                  <a:pt x="649" y="277"/>
                  <a:pt x="648" y="274"/>
                  <a:pt x="645" y="272"/>
                </a:cubicBezTo>
                <a:cubicBezTo>
                  <a:pt x="645" y="264"/>
                  <a:pt x="645" y="264"/>
                  <a:pt x="645" y="264"/>
                </a:cubicBezTo>
                <a:cubicBezTo>
                  <a:pt x="648" y="263"/>
                  <a:pt x="650" y="259"/>
                  <a:pt x="650" y="255"/>
                </a:cubicBezTo>
                <a:cubicBezTo>
                  <a:pt x="650" y="250"/>
                  <a:pt x="648" y="247"/>
                  <a:pt x="645" y="246"/>
                </a:cubicBezTo>
                <a:cubicBezTo>
                  <a:pt x="645" y="237"/>
                  <a:pt x="645" y="237"/>
                  <a:pt x="645" y="237"/>
                </a:cubicBezTo>
                <a:cubicBezTo>
                  <a:pt x="648" y="236"/>
                  <a:pt x="650" y="232"/>
                  <a:pt x="650" y="228"/>
                </a:cubicBezTo>
                <a:cubicBezTo>
                  <a:pt x="650" y="224"/>
                  <a:pt x="648" y="220"/>
                  <a:pt x="645" y="219"/>
                </a:cubicBezTo>
                <a:cubicBezTo>
                  <a:pt x="645" y="210"/>
                  <a:pt x="645" y="210"/>
                  <a:pt x="645" y="210"/>
                </a:cubicBezTo>
                <a:cubicBezTo>
                  <a:pt x="648" y="209"/>
                  <a:pt x="650" y="205"/>
                  <a:pt x="650" y="201"/>
                </a:cubicBezTo>
                <a:cubicBezTo>
                  <a:pt x="650" y="197"/>
                  <a:pt x="648" y="193"/>
                  <a:pt x="645" y="192"/>
                </a:cubicBezTo>
                <a:cubicBezTo>
                  <a:pt x="645" y="183"/>
                  <a:pt x="645" y="183"/>
                  <a:pt x="645" y="183"/>
                </a:cubicBezTo>
                <a:cubicBezTo>
                  <a:pt x="648" y="182"/>
                  <a:pt x="650" y="178"/>
                  <a:pt x="650" y="174"/>
                </a:cubicBezTo>
                <a:cubicBezTo>
                  <a:pt x="650" y="170"/>
                  <a:pt x="648" y="167"/>
                  <a:pt x="645" y="165"/>
                </a:cubicBezTo>
                <a:cubicBezTo>
                  <a:pt x="645" y="157"/>
                  <a:pt x="645" y="157"/>
                  <a:pt x="645" y="157"/>
                </a:cubicBezTo>
                <a:cubicBezTo>
                  <a:pt x="648" y="155"/>
                  <a:pt x="650" y="152"/>
                  <a:pt x="650" y="148"/>
                </a:cubicBezTo>
                <a:cubicBezTo>
                  <a:pt x="650" y="144"/>
                  <a:pt x="648" y="140"/>
                  <a:pt x="645" y="139"/>
                </a:cubicBezTo>
                <a:cubicBezTo>
                  <a:pt x="645" y="130"/>
                  <a:pt x="645" y="130"/>
                  <a:pt x="645" y="130"/>
                </a:cubicBezTo>
                <a:cubicBezTo>
                  <a:pt x="648" y="129"/>
                  <a:pt x="649" y="125"/>
                  <a:pt x="649" y="121"/>
                </a:cubicBezTo>
                <a:cubicBezTo>
                  <a:pt x="649" y="117"/>
                  <a:pt x="648" y="114"/>
                  <a:pt x="645" y="112"/>
                </a:cubicBezTo>
                <a:cubicBezTo>
                  <a:pt x="645" y="103"/>
                  <a:pt x="645" y="103"/>
                  <a:pt x="645" y="103"/>
                </a:cubicBezTo>
                <a:cubicBezTo>
                  <a:pt x="645" y="103"/>
                  <a:pt x="646" y="103"/>
                  <a:pt x="646" y="102"/>
                </a:cubicBezTo>
                <a:cubicBezTo>
                  <a:pt x="647" y="103"/>
                  <a:pt x="648" y="104"/>
                  <a:pt x="649" y="104"/>
                </a:cubicBezTo>
                <a:cubicBezTo>
                  <a:pt x="652" y="113"/>
                  <a:pt x="652" y="113"/>
                  <a:pt x="652" y="113"/>
                </a:cubicBezTo>
                <a:cubicBezTo>
                  <a:pt x="650" y="115"/>
                  <a:pt x="650" y="119"/>
                  <a:pt x="651" y="123"/>
                </a:cubicBezTo>
                <a:cubicBezTo>
                  <a:pt x="652" y="127"/>
                  <a:pt x="655" y="129"/>
                  <a:pt x="658" y="130"/>
                </a:cubicBezTo>
                <a:cubicBezTo>
                  <a:pt x="661" y="138"/>
                  <a:pt x="661" y="138"/>
                  <a:pt x="661" y="138"/>
                </a:cubicBezTo>
                <a:cubicBezTo>
                  <a:pt x="659" y="140"/>
                  <a:pt x="658" y="144"/>
                  <a:pt x="659" y="148"/>
                </a:cubicBezTo>
                <a:cubicBezTo>
                  <a:pt x="660" y="152"/>
                  <a:pt x="663" y="155"/>
                  <a:pt x="666" y="155"/>
                </a:cubicBezTo>
                <a:cubicBezTo>
                  <a:pt x="669" y="163"/>
                  <a:pt x="669" y="163"/>
                  <a:pt x="669" y="163"/>
                </a:cubicBezTo>
                <a:cubicBezTo>
                  <a:pt x="667" y="165"/>
                  <a:pt x="666" y="169"/>
                  <a:pt x="668" y="173"/>
                </a:cubicBezTo>
                <a:cubicBezTo>
                  <a:pt x="669" y="177"/>
                  <a:pt x="671" y="180"/>
                  <a:pt x="674" y="180"/>
                </a:cubicBezTo>
                <a:cubicBezTo>
                  <a:pt x="677" y="188"/>
                  <a:pt x="677" y="188"/>
                  <a:pt x="677" y="188"/>
                </a:cubicBezTo>
                <a:cubicBezTo>
                  <a:pt x="675" y="190"/>
                  <a:pt x="674" y="194"/>
                  <a:pt x="676" y="198"/>
                </a:cubicBezTo>
                <a:cubicBezTo>
                  <a:pt x="677" y="202"/>
                  <a:pt x="679" y="204"/>
                  <a:pt x="682" y="205"/>
                </a:cubicBezTo>
                <a:cubicBezTo>
                  <a:pt x="685" y="214"/>
                  <a:pt x="685" y="214"/>
                  <a:pt x="685" y="214"/>
                </a:cubicBezTo>
                <a:cubicBezTo>
                  <a:pt x="683" y="216"/>
                  <a:pt x="682" y="220"/>
                  <a:pt x="683" y="224"/>
                </a:cubicBezTo>
                <a:cubicBezTo>
                  <a:pt x="684" y="228"/>
                  <a:pt x="687" y="231"/>
                  <a:pt x="690" y="231"/>
                </a:cubicBezTo>
                <a:cubicBezTo>
                  <a:pt x="693" y="240"/>
                  <a:pt x="693" y="240"/>
                  <a:pt x="693" y="240"/>
                </a:cubicBezTo>
                <a:cubicBezTo>
                  <a:pt x="691" y="242"/>
                  <a:pt x="690" y="246"/>
                  <a:pt x="691" y="249"/>
                </a:cubicBezTo>
                <a:cubicBezTo>
                  <a:pt x="692" y="253"/>
                  <a:pt x="695" y="256"/>
                  <a:pt x="698" y="256"/>
                </a:cubicBezTo>
                <a:cubicBezTo>
                  <a:pt x="700" y="265"/>
                  <a:pt x="700" y="265"/>
                  <a:pt x="700" y="265"/>
                </a:cubicBezTo>
                <a:cubicBezTo>
                  <a:pt x="698" y="267"/>
                  <a:pt x="698" y="271"/>
                  <a:pt x="699" y="275"/>
                </a:cubicBezTo>
                <a:cubicBezTo>
                  <a:pt x="700" y="278"/>
                  <a:pt x="703" y="281"/>
                  <a:pt x="705" y="282"/>
                </a:cubicBezTo>
                <a:cubicBezTo>
                  <a:pt x="708" y="290"/>
                  <a:pt x="708" y="290"/>
                  <a:pt x="708" y="290"/>
                </a:cubicBezTo>
                <a:cubicBezTo>
                  <a:pt x="706" y="292"/>
                  <a:pt x="706" y="296"/>
                  <a:pt x="707" y="300"/>
                </a:cubicBezTo>
                <a:cubicBezTo>
                  <a:pt x="708" y="304"/>
                  <a:pt x="711" y="307"/>
                  <a:pt x="713" y="307"/>
                </a:cubicBezTo>
                <a:cubicBezTo>
                  <a:pt x="716" y="316"/>
                  <a:pt x="716" y="316"/>
                  <a:pt x="716" y="316"/>
                </a:cubicBezTo>
                <a:cubicBezTo>
                  <a:pt x="714" y="318"/>
                  <a:pt x="713" y="321"/>
                  <a:pt x="715" y="325"/>
                </a:cubicBezTo>
                <a:cubicBezTo>
                  <a:pt x="716" y="329"/>
                  <a:pt x="719" y="332"/>
                  <a:pt x="721" y="332"/>
                </a:cubicBezTo>
                <a:cubicBezTo>
                  <a:pt x="724" y="341"/>
                  <a:pt x="724" y="341"/>
                  <a:pt x="724" y="341"/>
                </a:cubicBezTo>
                <a:cubicBezTo>
                  <a:pt x="722" y="343"/>
                  <a:pt x="721" y="347"/>
                  <a:pt x="722" y="351"/>
                </a:cubicBezTo>
                <a:cubicBezTo>
                  <a:pt x="724" y="354"/>
                  <a:pt x="727" y="357"/>
                  <a:pt x="729" y="358"/>
                </a:cubicBezTo>
                <a:cubicBezTo>
                  <a:pt x="732" y="365"/>
                  <a:pt x="732" y="365"/>
                  <a:pt x="732" y="365"/>
                </a:cubicBezTo>
                <a:cubicBezTo>
                  <a:pt x="721" y="362"/>
                  <a:pt x="709" y="360"/>
                  <a:pt x="696" y="358"/>
                </a:cubicBezTo>
                <a:close/>
                <a:moveTo>
                  <a:pt x="731" y="354"/>
                </a:moveTo>
                <a:cubicBezTo>
                  <a:pt x="729" y="355"/>
                  <a:pt x="726" y="353"/>
                  <a:pt x="725" y="350"/>
                </a:cubicBezTo>
                <a:cubicBezTo>
                  <a:pt x="724" y="347"/>
                  <a:pt x="725" y="344"/>
                  <a:pt x="727" y="343"/>
                </a:cubicBezTo>
                <a:cubicBezTo>
                  <a:pt x="729" y="342"/>
                  <a:pt x="731" y="344"/>
                  <a:pt x="732" y="347"/>
                </a:cubicBezTo>
                <a:cubicBezTo>
                  <a:pt x="733" y="350"/>
                  <a:pt x="733" y="353"/>
                  <a:pt x="731" y="354"/>
                </a:cubicBezTo>
                <a:close/>
              </a:path>
            </a:pathLst>
          </a:custGeom>
          <a:solidFill>
            <a:schemeClr val="accent1">
              <a:alpha val="5000"/>
            </a:scheme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01928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B3422-02E1-44B8-8AD8-9209C510FB6F}"/>
              </a:ext>
            </a:extLst>
          </p:cNvPr>
          <p:cNvSpPr>
            <a:spLocks noGrp="1"/>
          </p:cNvSpPr>
          <p:nvPr>
            <p:ph type="title"/>
          </p:nvPr>
        </p:nvSpPr>
        <p:spPr/>
        <p:txBody>
          <a:bodyPr/>
          <a:lstStyle/>
          <a:p>
            <a:r>
              <a:rPr lang="en-US"/>
              <a:t>Gartner Engagement Overview</a:t>
            </a:r>
          </a:p>
        </p:txBody>
      </p:sp>
      <p:sp>
        <p:nvSpPr>
          <p:cNvPr id="3" name="TextBox 2">
            <a:extLst>
              <a:ext uri="{FF2B5EF4-FFF2-40B4-BE49-F238E27FC236}">
                <a16:creationId xmlns:a16="http://schemas.microsoft.com/office/drawing/2014/main" id="{6D4514AD-E4EE-4810-9FDB-62BB641848CA}"/>
              </a:ext>
            </a:extLst>
          </p:cNvPr>
          <p:cNvSpPr txBox="1"/>
          <p:nvPr/>
        </p:nvSpPr>
        <p:spPr>
          <a:xfrm>
            <a:off x="1250446" y="982228"/>
            <a:ext cx="1828800" cy="4572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Ins="0" rtlCol="0" anchor="ctr"/>
          <a:lstStyle>
            <a:defPPr>
              <a:defRPr lang="en-US"/>
            </a:defPPr>
            <a:lvl1pPr algn="ctr">
              <a:defRPr sz="1400" b="1">
                <a:solidFill>
                  <a:srgbClr val="009AD7"/>
                </a:solidFill>
                <a:latin typeface="+mj-lt"/>
                <a:cs typeface="Calibri" pitchFamily="34" charset="0"/>
              </a:defRPr>
            </a:lvl1pPr>
          </a:lstStyle>
          <a:p>
            <a:r>
              <a:rPr lang="en-US"/>
              <a:t>Understand the Current State</a:t>
            </a:r>
          </a:p>
        </p:txBody>
      </p:sp>
      <p:sp>
        <p:nvSpPr>
          <p:cNvPr id="4" name="TextBox 3">
            <a:extLst>
              <a:ext uri="{FF2B5EF4-FFF2-40B4-BE49-F238E27FC236}">
                <a16:creationId xmlns:a16="http://schemas.microsoft.com/office/drawing/2014/main" id="{C9D4E8BF-38DB-4E2E-B87A-BB05E1D589B4}"/>
              </a:ext>
            </a:extLst>
          </p:cNvPr>
          <p:cNvSpPr txBox="1"/>
          <p:nvPr/>
        </p:nvSpPr>
        <p:spPr>
          <a:xfrm>
            <a:off x="5279558" y="982228"/>
            <a:ext cx="2071796" cy="4572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Ins="0" rtlCol="0" anchor="ctr"/>
          <a:lstStyle>
            <a:defPPr>
              <a:defRPr lang="en-US"/>
            </a:defPPr>
            <a:lvl1pPr algn="ctr">
              <a:defRPr sz="1400" b="1">
                <a:solidFill>
                  <a:srgbClr val="009AD7"/>
                </a:solidFill>
                <a:latin typeface="+mj-lt"/>
                <a:cs typeface="Calibri" pitchFamily="34" charset="0"/>
              </a:defRPr>
            </a:lvl1pPr>
          </a:lstStyle>
          <a:p>
            <a:r>
              <a:rPr lang="en-US"/>
              <a:t>Design for the </a:t>
            </a:r>
          </a:p>
          <a:p>
            <a:r>
              <a:rPr lang="en-US"/>
              <a:t>Future</a:t>
            </a:r>
          </a:p>
        </p:txBody>
      </p:sp>
      <p:sp>
        <p:nvSpPr>
          <p:cNvPr id="5" name="TextBox 4">
            <a:extLst>
              <a:ext uri="{FF2B5EF4-FFF2-40B4-BE49-F238E27FC236}">
                <a16:creationId xmlns:a16="http://schemas.microsoft.com/office/drawing/2014/main" id="{4BC666D0-69DC-47D7-9040-05DF5E7136D3}"/>
              </a:ext>
            </a:extLst>
          </p:cNvPr>
          <p:cNvSpPr txBox="1"/>
          <p:nvPr/>
        </p:nvSpPr>
        <p:spPr>
          <a:xfrm>
            <a:off x="9548995" y="982228"/>
            <a:ext cx="1459582" cy="45720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rIns="0" rtlCol="0" anchor="ctr"/>
          <a:lstStyle>
            <a:defPPr>
              <a:defRPr lang="en-US"/>
            </a:defPPr>
            <a:lvl1pPr algn="ctr">
              <a:defRPr sz="1400" b="1">
                <a:solidFill>
                  <a:srgbClr val="009AD7"/>
                </a:solidFill>
                <a:latin typeface="+mj-lt"/>
                <a:cs typeface="Calibri" pitchFamily="34" charset="0"/>
              </a:defRPr>
            </a:lvl1pPr>
          </a:lstStyle>
          <a:p>
            <a:r>
              <a:rPr lang="en-US"/>
              <a:t>Plan to Achieve</a:t>
            </a:r>
          </a:p>
        </p:txBody>
      </p:sp>
      <p:cxnSp>
        <p:nvCxnSpPr>
          <p:cNvPr id="6" name="Straight Arrow Connector 5">
            <a:extLst>
              <a:ext uri="{FF2B5EF4-FFF2-40B4-BE49-F238E27FC236}">
                <a16:creationId xmlns:a16="http://schemas.microsoft.com/office/drawing/2014/main" id="{0158AC34-D8C6-4BB1-B73E-6A7F028B1870}"/>
              </a:ext>
            </a:extLst>
          </p:cNvPr>
          <p:cNvCxnSpPr>
            <a:cxnSpLocks/>
            <a:stCxn id="3" idx="3"/>
            <a:endCxn id="4" idx="1"/>
          </p:cNvCxnSpPr>
          <p:nvPr/>
        </p:nvCxnSpPr>
        <p:spPr>
          <a:xfrm>
            <a:off x="3079246" y="1210828"/>
            <a:ext cx="2200312" cy="0"/>
          </a:xfrm>
          <a:prstGeom prst="straightConnector1">
            <a:avLst/>
          </a:prstGeom>
          <a:ln w="12700">
            <a:solidFill>
              <a:srgbClr val="00285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0BEA14C-15F8-479F-A77A-26D56EEDA48F}"/>
              </a:ext>
            </a:extLst>
          </p:cNvPr>
          <p:cNvCxnSpPr>
            <a:cxnSpLocks/>
            <a:stCxn id="4" idx="3"/>
            <a:endCxn id="5" idx="1"/>
          </p:cNvCxnSpPr>
          <p:nvPr/>
        </p:nvCxnSpPr>
        <p:spPr>
          <a:xfrm>
            <a:off x="7351354" y="1210828"/>
            <a:ext cx="2197641" cy="0"/>
          </a:xfrm>
          <a:prstGeom prst="straightConnector1">
            <a:avLst/>
          </a:prstGeom>
          <a:ln w="12700">
            <a:solidFill>
              <a:srgbClr val="00285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485A2877-4F90-4091-B240-6D92D0DD3A0A}"/>
              </a:ext>
            </a:extLst>
          </p:cNvPr>
          <p:cNvGrpSpPr/>
          <p:nvPr/>
        </p:nvGrpSpPr>
        <p:grpSpPr>
          <a:xfrm>
            <a:off x="3276429" y="2514908"/>
            <a:ext cx="1380291" cy="2017722"/>
            <a:chOff x="2923019" y="2729268"/>
            <a:chExt cx="1380291" cy="2017722"/>
          </a:xfrm>
        </p:grpSpPr>
        <p:sp>
          <p:nvSpPr>
            <p:cNvPr id="9" name="TextBox 8">
              <a:extLst>
                <a:ext uri="{FF2B5EF4-FFF2-40B4-BE49-F238E27FC236}">
                  <a16:creationId xmlns:a16="http://schemas.microsoft.com/office/drawing/2014/main" id="{0E3E6D1C-12F6-4207-AA22-601E93140794}"/>
                </a:ext>
              </a:extLst>
            </p:cNvPr>
            <p:cNvSpPr txBox="1"/>
            <p:nvPr/>
          </p:nvSpPr>
          <p:spPr>
            <a:xfrm>
              <a:off x="2986422" y="3300634"/>
              <a:ext cx="1264624" cy="144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ata Discovery Report</a:t>
              </a:r>
            </a:p>
            <a:p>
              <a:r>
                <a:rPr lang="en-US" b="0" i="1" kern="0">
                  <a:solidFill>
                    <a:srgbClr val="6F7878"/>
                  </a:solidFill>
                  <a:ea typeface="Arial Unicode MS"/>
                  <a:cs typeface="Arial Unicode MS"/>
                </a:rPr>
                <a:t>Summary of discovery activities and baseline for the target state and roadmap</a:t>
              </a:r>
              <a:endParaRPr lang="en-US"/>
            </a:p>
          </p:txBody>
        </p:sp>
        <p:sp>
          <p:nvSpPr>
            <p:cNvPr id="10" name="Freeform: Shape 9">
              <a:extLst>
                <a:ext uri="{FF2B5EF4-FFF2-40B4-BE49-F238E27FC236}">
                  <a16:creationId xmlns:a16="http://schemas.microsoft.com/office/drawing/2014/main" id="{8A354653-08D3-4527-9D30-B48D9EA619CB}"/>
                </a:ext>
              </a:extLst>
            </p:cNvPr>
            <p:cNvSpPr>
              <a:spLocks noChangeAspect="1"/>
            </p:cNvSpPr>
            <p:nvPr/>
          </p:nvSpPr>
          <p:spPr bwMode="gray">
            <a:xfrm>
              <a:off x="3284553" y="2882336"/>
              <a:ext cx="657225" cy="314325"/>
            </a:xfrm>
            <a:custGeom>
              <a:avLst/>
              <a:gdLst>
                <a:gd name="connsiteX0" fmla="*/ 635579 w 657225"/>
                <a:gd name="connsiteY0" fmla="*/ 26670 h 314325"/>
                <a:gd name="connsiteX1" fmla="*/ 588431 w 657225"/>
                <a:gd name="connsiteY1" fmla="*/ 7144 h 314325"/>
                <a:gd name="connsiteX2" fmla="*/ 541282 w 657225"/>
                <a:gd name="connsiteY2" fmla="*/ 26670 h 314325"/>
                <a:gd name="connsiteX3" fmla="*/ 529757 w 657225"/>
                <a:gd name="connsiteY3" fmla="*/ 105537 h 314325"/>
                <a:gd name="connsiteX4" fmla="*/ 448604 w 657225"/>
                <a:gd name="connsiteY4" fmla="*/ 186690 h 314325"/>
                <a:gd name="connsiteX5" fmla="*/ 416885 w 657225"/>
                <a:gd name="connsiteY5" fmla="*/ 178689 h 314325"/>
                <a:gd name="connsiteX6" fmla="*/ 385167 w 657225"/>
                <a:gd name="connsiteY6" fmla="*/ 186690 h 314325"/>
                <a:gd name="connsiteX7" fmla="*/ 304014 w 657225"/>
                <a:gd name="connsiteY7" fmla="*/ 105537 h 314325"/>
                <a:gd name="connsiteX8" fmla="*/ 292489 w 657225"/>
                <a:gd name="connsiteY8" fmla="*/ 26670 h 314325"/>
                <a:gd name="connsiteX9" fmla="*/ 245340 w 657225"/>
                <a:gd name="connsiteY9" fmla="*/ 7144 h 314325"/>
                <a:gd name="connsiteX10" fmla="*/ 198191 w 657225"/>
                <a:gd name="connsiteY10" fmla="*/ 26670 h 314325"/>
                <a:gd name="connsiteX11" fmla="*/ 186666 w 657225"/>
                <a:gd name="connsiteY11" fmla="*/ 105537 h 314325"/>
                <a:gd name="connsiteX12" fmla="*/ 105513 w 657225"/>
                <a:gd name="connsiteY12" fmla="*/ 186690 h 314325"/>
                <a:gd name="connsiteX13" fmla="*/ 73795 w 657225"/>
                <a:gd name="connsiteY13" fmla="*/ 178689 h 314325"/>
                <a:gd name="connsiteX14" fmla="*/ 26646 w 657225"/>
                <a:gd name="connsiteY14" fmla="*/ 198215 h 314325"/>
                <a:gd name="connsiteX15" fmla="*/ 26646 w 657225"/>
                <a:gd name="connsiteY15" fmla="*/ 292513 h 314325"/>
                <a:gd name="connsiteX16" fmla="*/ 73795 w 657225"/>
                <a:gd name="connsiteY16" fmla="*/ 312039 h 314325"/>
                <a:gd name="connsiteX17" fmla="*/ 120944 w 657225"/>
                <a:gd name="connsiteY17" fmla="*/ 292513 h 314325"/>
                <a:gd name="connsiteX18" fmla="*/ 132469 w 657225"/>
                <a:gd name="connsiteY18" fmla="*/ 213646 h 314325"/>
                <a:gd name="connsiteX19" fmla="*/ 213622 w 657225"/>
                <a:gd name="connsiteY19" fmla="*/ 132493 h 314325"/>
                <a:gd name="connsiteX20" fmla="*/ 245340 w 657225"/>
                <a:gd name="connsiteY20" fmla="*/ 140494 h 314325"/>
                <a:gd name="connsiteX21" fmla="*/ 277058 w 657225"/>
                <a:gd name="connsiteY21" fmla="*/ 132493 h 314325"/>
                <a:gd name="connsiteX22" fmla="*/ 358211 w 657225"/>
                <a:gd name="connsiteY22" fmla="*/ 213646 h 314325"/>
                <a:gd name="connsiteX23" fmla="*/ 369737 w 657225"/>
                <a:gd name="connsiteY23" fmla="*/ 292513 h 314325"/>
                <a:gd name="connsiteX24" fmla="*/ 416885 w 657225"/>
                <a:gd name="connsiteY24" fmla="*/ 312039 h 314325"/>
                <a:gd name="connsiteX25" fmla="*/ 464034 w 657225"/>
                <a:gd name="connsiteY25" fmla="*/ 292513 h 314325"/>
                <a:gd name="connsiteX26" fmla="*/ 475559 w 657225"/>
                <a:gd name="connsiteY26" fmla="*/ 213646 h 314325"/>
                <a:gd name="connsiteX27" fmla="*/ 556712 w 657225"/>
                <a:gd name="connsiteY27" fmla="*/ 132493 h 314325"/>
                <a:gd name="connsiteX28" fmla="*/ 588431 w 657225"/>
                <a:gd name="connsiteY28" fmla="*/ 140494 h 314325"/>
                <a:gd name="connsiteX29" fmla="*/ 635579 w 657225"/>
                <a:gd name="connsiteY29" fmla="*/ 120968 h 314325"/>
                <a:gd name="connsiteX30" fmla="*/ 635579 w 657225"/>
                <a:gd name="connsiteY30" fmla="*/ 26670 h 314325"/>
                <a:gd name="connsiteX31" fmla="*/ 94274 w 657225"/>
                <a:gd name="connsiteY31" fmla="*/ 265462 h 314325"/>
                <a:gd name="connsiteX32" fmla="*/ 74081 w 657225"/>
                <a:gd name="connsiteY32" fmla="*/ 273844 h 314325"/>
                <a:gd name="connsiteX33" fmla="*/ 53888 w 657225"/>
                <a:gd name="connsiteY33" fmla="*/ 265462 h 314325"/>
                <a:gd name="connsiteX34" fmla="*/ 53888 w 657225"/>
                <a:gd name="connsiteY34" fmla="*/ 225076 h 314325"/>
                <a:gd name="connsiteX35" fmla="*/ 74081 w 657225"/>
                <a:gd name="connsiteY35" fmla="*/ 216694 h 314325"/>
                <a:gd name="connsiteX36" fmla="*/ 94274 w 657225"/>
                <a:gd name="connsiteY36" fmla="*/ 225076 h 314325"/>
                <a:gd name="connsiteX37" fmla="*/ 94274 w 657225"/>
                <a:gd name="connsiteY37" fmla="*/ 265462 h 314325"/>
                <a:gd name="connsiteX38" fmla="*/ 245531 w 657225"/>
                <a:gd name="connsiteY38" fmla="*/ 102394 h 314325"/>
                <a:gd name="connsiteX39" fmla="*/ 225338 w 657225"/>
                <a:gd name="connsiteY39" fmla="*/ 94012 h 314325"/>
                <a:gd name="connsiteX40" fmla="*/ 225338 w 657225"/>
                <a:gd name="connsiteY40" fmla="*/ 53626 h 314325"/>
                <a:gd name="connsiteX41" fmla="*/ 245531 w 657225"/>
                <a:gd name="connsiteY41" fmla="*/ 45244 h 314325"/>
                <a:gd name="connsiteX42" fmla="*/ 265724 w 657225"/>
                <a:gd name="connsiteY42" fmla="*/ 53626 h 314325"/>
                <a:gd name="connsiteX43" fmla="*/ 265724 w 657225"/>
                <a:gd name="connsiteY43" fmla="*/ 94012 h 314325"/>
                <a:gd name="connsiteX44" fmla="*/ 245531 w 657225"/>
                <a:gd name="connsiteY44" fmla="*/ 102394 h 314325"/>
                <a:gd name="connsiteX45" fmla="*/ 437174 w 657225"/>
                <a:gd name="connsiteY45" fmla="*/ 265462 h 314325"/>
                <a:gd name="connsiteX46" fmla="*/ 416981 w 657225"/>
                <a:gd name="connsiteY46" fmla="*/ 273844 h 314325"/>
                <a:gd name="connsiteX47" fmla="*/ 396788 w 657225"/>
                <a:gd name="connsiteY47" fmla="*/ 265462 h 314325"/>
                <a:gd name="connsiteX48" fmla="*/ 396788 w 657225"/>
                <a:gd name="connsiteY48" fmla="*/ 225076 h 314325"/>
                <a:gd name="connsiteX49" fmla="*/ 416981 w 657225"/>
                <a:gd name="connsiteY49" fmla="*/ 216694 h 314325"/>
                <a:gd name="connsiteX50" fmla="*/ 437174 w 657225"/>
                <a:gd name="connsiteY50" fmla="*/ 225076 h 314325"/>
                <a:gd name="connsiteX51" fmla="*/ 437174 w 657225"/>
                <a:gd name="connsiteY51" fmla="*/ 265462 h 314325"/>
                <a:gd name="connsiteX52" fmla="*/ 608624 w 657225"/>
                <a:gd name="connsiteY52" fmla="*/ 94012 h 314325"/>
                <a:gd name="connsiteX53" fmla="*/ 588431 w 657225"/>
                <a:gd name="connsiteY53" fmla="*/ 102394 h 314325"/>
                <a:gd name="connsiteX54" fmla="*/ 568238 w 657225"/>
                <a:gd name="connsiteY54" fmla="*/ 94012 h 314325"/>
                <a:gd name="connsiteX55" fmla="*/ 568238 w 657225"/>
                <a:gd name="connsiteY55" fmla="*/ 53626 h 314325"/>
                <a:gd name="connsiteX56" fmla="*/ 588431 w 657225"/>
                <a:gd name="connsiteY56" fmla="*/ 45244 h 314325"/>
                <a:gd name="connsiteX57" fmla="*/ 608624 w 657225"/>
                <a:gd name="connsiteY57" fmla="*/ 53626 h 314325"/>
                <a:gd name="connsiteX58" fmla="*/ 617006 w 657225"/>
                <a:gd name="connsiteY58" fmla="*/ 73819 h 314325"/>
                <a:gd name="connsiteX59" fmla="*/ 608624 w 657225"/>
                <a:gd name="connsiteY59" fmla="*/ 94012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57225" h="314325">
                  <a:moveTo>
                    <a:pt x="635579" y="26670"/>
                  </a:moveTo>
                  <a:cubicBezTo>
                    <a:pt x="622530" y="13621"/>
                    <a:pt x="605480" y="7144"/>
                    <a:pt x="588431" y="7144"/>
                  </a:cubicBezTo>
                  <a:cubicBezTo>
                    <a:pt x="571381" y="7144"/>
                    <a:pt x="554331" y="13621"/>
                    <a:pt x="541282" y="26670"/>
                  </a:cubicBezTo>
                  <a:cubicBezTo>
                    <a:pt x="519946" y="48006"/>
                    <a:pt x="516136" y="80201"/>
                    <a:pt x="529757" y="105537"/>
                  </a:cubicBezTo>
                  <a:lnTo>
                    <a:pt x="448604" y="186690"/>
                  </a:lnTo>
                  <a:cubicBezTo>
                    <a:pt x="438698" y="181356"/>
                    <a:pt x="427839" y="178689"/>
                    <a:pt x="416885" y="178689"/>
                  </a:cubicBezTo>
                  <a:cubicBezTo>
                    <a:pt x="405932" y="178689"/>
                    <a:pt x="395073" y="181356"/>
                    <a:pt x="385167" y="186690"/>
                  </a:cubicBezTo>
                  <a:lnTo>
                    <a:pt x="304014" y="105537"/>
                  </a:lnTo>
                  <a:cubicBezTo>
                    <a:pt x="317730" y="80296"/>
                    <a:pt x="313920" y="48006"/>
                    <a:pt x="292489" y="26670"/>
                  </a:cubicBezTo>
                  <a:cubicBezTo>
                    <a:pt x="279440" y="13621"/>
                    <a:pt x="262390" y="7144"/>
                    <a:pt x="245340" y="7144"/>
                  </a:cubicBezTo>
                  <a:cubicBezTo>
                    <a:pt x="228290" y="7144"/>
                    <a:pt x="211241" y="13621"/>
                    <a:pt x="198191" y="26670"/>
                  </a:cubicBezTo>
                  <a:cubicBezTo>
                    <a:pt x="176855" y="48006"/>
                    <a:pt x="173045" y="80201"/>
                    <a:pt x="186666" y="105537"/>
                  </a:cubicBezTo>
                  <a:lnTo>
                    <a:pt x="105513" y="186690"/>
                  </a:lnTo>
                  <a:cubicBezTo>
                    <a:pt x="95607" y="181356"/>
                    <a:pt x="84749" y="178689"/>
                    <a:pt x="73795" y="178689"/>
                  </a:cubicBezTo>
                  <a:cubicBezTo>
                    <a:pt x="56745" y="178689"/>
                    <a:pt x="39695" y="185166"/>
                    <a:pt x="26646" y="198215"/>
                  </a:cubicBezTo>
                  <a:cubicBezTo>
                    <a:pt x="643" y="224219"/>
                    <a:pt x="643" y="266510"/>
                    <a:pt x="26646" y="292513"/>
                  </a:cubicBezTo>
                  <a:cubicBezTo>
                    <a:pt x="39695" y="305562"/>
                    <a:pt x="56745" y="312039"/>
                    <a:pt x="73795" y="312039"/>
                  </a:cubicBezTo>
                  <a:cubicBezTo>
                    <a:pt x="90845" y="312039"/>
                    <a:pt x="107894" y="305562"/>
                    <a:pt x="120944" y="292513"/>
                  </a:cubicBezTo>
                  <a:cubicBezTo>
                    <a:pt x="142280" y="271177"/>
                    <a:pt x="146090" y="238982"/>
                    <a:pt x="132469" y="213646"/>
                  </a:cubicBezTo>
                  <a:lnTo>
                    <a:pt x="213622" y="132493"/>
                  </a:lnTo>
                  <a:cubicBezTo>
                    <a:pt x="223528" y="137827"/>
                    <a:pt x="234386" y="140494"/>
                    <a:pt x="245340" y="140494"/>
                  </a:cubicBezTo>
                  <a:cubicBezTo>
                    <a:pt x="256294" y="140494"/>
                    <a:pt x="267152" y="137827"/>
                    <a:pt x="277058" y="132493"/>
                  </a:cubicBezTo>
                  <a:lnTo>
                    <a:pt x="358211" y="213646"/>
                  </a:lnTo>
                  <a:cubicBezTo>
                    <a:pt x="344495" y="238887"/>
                    <a:pt x="348305" y="271177"/>
                    <a:pt x="369737" y="292513"/>
                  </a:cubicBezTo>
                  <a:cubicBezTo>
                    <a:pt x="382786" y="305562"/>
                    <a:pt x="399836" y="312039"/>
                    <a:pt x="416885" y="312039"/>
                  </a:cubicBezTo>
                  <a:cubicBezTo>
                    <a:pt x="433935" y="312039"/>
                    <a:pt x="450985" y="305562"/>
                    <a:pt x="464034" y="292513"/>
                  </a:cubicBezTo>
                  <a:cubicBezTo>
                    <a:pt x="485370" y="271177"/>
                    <a:pt x="489180" y="238982"/>
                    <a:pt x="475559" y="213646"/>
                  </a:cubicBezTo>
                  <a:lnTo>
                    <a:pt x="556712" y="132493"/>
                  </a:lnTo>
                  <a:cubicBezTo>
                    <a:pt x="566618" y="137827"/>
                    <a:pt x="577477" y="140494"/>
                    <a:pt x="588431" y="140494"/>
                  </a:cubicBezTo>
                  <a:cubicBezTo>
                    <a:pt x="605480" y="140494"/>
                    <a:pt x="622530" y="134017"/>
                    <a:pt x="635579" y="120968"/>
                  </a:cubicBezTo>
                  <a:cubicBezTo>
                    <a:pt x="661583" y="94964"/>
                    <a:pt x="661583" y="52673"/>
                    <a:pt x="635579" y="26670"/>
                  </a:cubicBezTo>
                  <a:close/>
                  <a:moveTo>
                    <a:pt x="94274" y="265462"/>
                  </a:moveTo>
                  <a:cubicBezTo>
                    <a:pt x="88844" y="270891"/>
                    <a:pt x="81701" y="273844"/>
                    <a:pt x="74081" y="273844"/>
                  </a:cubicBezTo>
                  <a:cubicBezTo>
                    <a:pt x="66461" y="273844"/>
                    <a:pt x="59317" y="270891"/>
                    <a:pt x="53888" y="265462"/>
                  </a:cubicBezTo>
                  <a:cubicBezTo>
                    <a:pt x="42743" y="254318"/>
                    <a:pt x="42743" y="236220"/>
                    <a:pt x="53888" y="225076"/>
                  </a:cubicBezTo>
                  <a:cubicBezTo>
                    <a:pt x="59317" y="219647"/>
                    <a:pt x="66461" y="216694"/>
                    <a:pt x="74081" y="216694"/>
                  </a:cubicBezTo>
                  <a:cubicBezTo>
                    <a:pt x="81701" y="216694"/>
                    <a:pt x="88844" y="219647"/>
                    <a:pt x="94274" y="225076"/>
                  </a:cubicBezTo>
                  <a:cubicBezTo>
                    <a:pt x="105418" y="236220"/>
                    <a:pt x="105418" y="254318"/>
                    <a:pt x="94274" y="265462"/>
                  </a:cubicBezTo>
                  <a:close/>
                  <a:moveTo>
                    <a:pt x="245531" y="102394"/>
                  </a:moveTo>
                  <a:cubicBezTo>
                    <a:pt x="237911" y="102394"/>
                    <a:pt x="230767" y="99441"/>
                    <a:pt x="225338" y="94012"/>
                  </a:cubicBezTo>
                  <a:cubicBezTo>
                    <a:pt x="214193" y="82868"/>
                    <a:pt x="214193" y="64770"/>
                    <a:pt x="225338" y="53626"/>
                  </a:cubicBezTo>
                  <a:cubicBezTo>
                    <a:pt x="230767" y="48196"/>
                    <a:pt x="237911" y="45244"/>
                    <a:pt x="245531" y="45244"/>
                  </a:cubicBezTo>
                  <a:cubicBezTo>
                    <a:pt x="253151" y="45244"/>
                    <a:pt x="260294" y="48196"/>
                    <a:pt x="265724" y="53626"/>
                  </a:cubicBezTo>
                  <a:cubicBezTo>
                    <a:pt x="276868" y="64770"/>
                    <a:pt x="276868" y="82868"/>
                    <a:pt x="265724" y="94012"/>
                  </a:cubicBezTo>
                  <a:cubicBezTo>
                    <a:pt x="260294" y="99441"/>
                    <a:pt x="253151" y="102394"/>
                    <a:pt x="245531" y="102394"/>
                  </a:cubicBezTo>
                  <a:close/>
                  <a:moveTo>
                    <a:pt x="437174" y="265462"/>
                  </a:moveTo>
                  <a:cubicBezTo>
                    <a:pt x="431744" y="270891"/>
                    <a:pt x="424601" y="273844"/>
                    <a:pt x="416981" y="273844"/>
                  </a:cubicBezTo>
                  <a:cubicBezTo>
                    <a:pt x="409361" y="273844"/>
                    <a:pt x="402217" y="270891"/>
                    <a:pt x="396788" y="265462"/>
                  </a:cubicBezTo>
                  <a:cubicBezTo>
                    <a:pt x="385643" y="254318"/>
                    <a:pt x="385643" y="236220"/>
                    <a:pt x="396788" y="225076"/>
                  </a:cubicBezTo>
                  <a:cubicBezTo>
                    <a:pt x="402217" y="219647"/>
                    <a:pt x="409361" y="216694"/>
                    <a:pt x="416981" y="216694"/>
                  </a:cubicBezTo>
                  <a:cubicBezTo>
                    <a:pt x="424601" y="216694"/>
                    <a:pt x="431744" y="219647"/>
                    <a:pt x="437174" y="225076"/>
                  </a:cubicBezTo>
                  <a:cubicBezTo>
                    <a:pt x="448318" y="236220"/>
                    <a:pt x="448318" y="254318"/>
                    <a:pt x="437174" y="265462"/>
                  </a:cubicBezTo>
                  <a:close/>
                  <a:moveTo>
                    <a:pt x="608624" y="94012"/>
                  </a:moveTo>
                  <a:cubicBezTo>
                    <a:pt x="603194" y="99441"/>
                    <a:pt x="596051" y="102394"/>
                    <a:pt x="588431" y="102394"/>
                  </a:cubicBezTo>
                  <a:cubicBezTo>
                    <a:pt x="580811" y="102394"/>
                    <a:pt x="573667" y="99441"/>
                    <a:pt x="568238" y="94012"/>
                  </a:cubicBezTo>
                  <a:cubicBezTo>
                    <a:pt x="557093" y="82868"/>
                    <a:pt x="557093" y="64770"/>
                    <a:pt x="568238" y="53626"/>
                  </a:cubicBezTo>
                  <a:cubicBezTo>
                    <a:pt x="573667" y="48196"/>
                    <a:pt x="580811" y="45244"/>
                    <a:pt x="588431" y="45244"/>
                  </a:cubicBezTo>
                  <a:cubicBezTo>
                    <a:pt x="596051" y="45244"/>
                    <a:pt x="603194" y="48196"/>
                    <a:pt x="608624" y="53626"/>
                  </a:cubicBezTo>
                  <a:cubicBezTo>
                    <a:pt x="614053" y="59055"/>
                    <a:pt x="617006" y="66199"/>
                    <a:pt x="617006" y="73819"/>
                  </a:cubicBezTo>
                  <a:cubicBezTo>
                    <a:pt x="617006" y="81439"/>
                    <a:pt x="614053" y="88582"/>
                    <a:pt x="608624" y="94012"/>
                  </a:cubicBezTo>
                  <a:close/>
                </a:path>
              </a:pathLst>
            </a:custGeom>
            <a:solidFill>
              <a:srgbClr val="002856"/>
            </a:solidFill>
            <a:ln w="9525" cap="flat">
              <a:noFill/>
              <a:prstDash val="solid"/>
              <a:miter/>
            </a:ln>
          </p:spPr>
          <p:txBody>
            <a:bodyPr rtlCol="0" anchor="ctr"/>
            <a:lstStyle/>
            <a:p>
              <a:endParaRPr lang="en-US"/>
            </a:p>
          </p:txBody>
        </p:sp>
        <p:sp>
          <p:nvSpPr>
            <p:cNvPr id="11" name="Rectangle 10">
              <a:extLst>
                <a:ext uri="{FF2B5EF4-FFF2-40B4-BE49-F238E27FC236}">
                  <a16:creationId xmlns:a16="http://schemas.microsoft.com/office/drawing/2014/main" id="{FB1B5B01-1925-4BAC-B7EF-1F10716E5605}"/>
                </a:ext>
              </a:extLst>
            </p:cNvPr>
            <p:cNvSpPr/>
            <p:nvPr/>
          </p:nvSpPr>
          <p:spPr>
            <a:xfrm>
              <a:off x="2923019" y="2729268"/>
              <a:ext cx="1380291" cy="1927287"/>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sp>
        <p:nvSpPr>
          <p:cNvPr id="12" name="TextBox 11">
            <a:extLst>
              <a:ext uri="{FF2B5EF4-FFF2-40B4-BE49-F238E27FC236}">
                <a16:creationId xmlns:a16="http://schemas.microsoft.com/office/drawing/2014/main" id="{CBE5276F-3CF1-47C7-A95E-A90F5CA913E0}"/>
              </a:ext>
            </a:extLst>
          </p:cNvPr>
          <p:cNvSpPr txBox="1"/>
          <p:nvPr/>
        </p:nvSpPr>
        <p:spPr>
          <a:xfrm>
            <a:off x="5767476" y="2323302"/>
            <a:ext cx="1592944" cy="1123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Target State Design</a:t>
            </a:r>
          </a:p>
          <a:p>
            <a:r>
              <a:rPr lang="en-US" b="0" i="1" kern="0">
                <a:solidFill>
                  <a:srgbClr val="6F7878"/>
                </a:solidFill>
                <a:ea typeface="Arial Unicode MS"/>
                <a:cs typeface="Arial Unicode MS"/>
              </a:rPr>
              <a:t>Foundational governance, organizational, process, and technology requirements</a:t>
            </a:r>
          </a:p>
        </p:txBody>
      </p:sp>
      <p:sp>
        <p:nvSpPr>
          <p:cNvPr id="13" name="TextBox 12">
            <a:extLst>
              <a:ext uri="{FF2B5EF4-FFF2-40B4-BE49-F238E27FC236}">
                <a16:creationId xmlns:a16="http://schemas.microsoft.com/office/drawing/2014/main" id="{13826238-2F3A-40DC-A19A-1D9C2068968E}"/>
              </a:ext>
            </a:extLst>
          </p:cNvPr>
          <p:cNvSpPr txBox="1"/>
          <p:nvPr/>
        </p:nvSpPr>
        <p:spPr>
          <a:xfrm>
            <a:off x="5719854" y="4532630"/>
            <a:ext cx="1688188" cy="1123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Proof of Concept Definition</a:t>
            </a:r>
          </a:p>
          <a:p>
            <a:r>
              <a:rPr lang="en-US" b="0" i="1" kern="0">
                <a:solidFill>
                  <a:srgbClr val="6F7878"/>
                </a:solidFill>
                <a:ea typeface="Arial Unicode MS"/>
                <a:cs typeface="Arial Unicode MS"/>
              </a:rPr>
              <a:t>A quick win opportunity to demonstrate value to stakeholders and test capabilities of the target state architecture </a:t>
            </a:r>
          </a:p>
        </p:txBody>
      </p:sp>
      <p:grpSp>
        <p:nvGrpSpPr>
          <p:cNvPr id="14" name="Group 13">
            <a:extLst>
              <a:ext uri="{FF2B5EF4-FFF2-40B4-BE49-F238E27FC236}">
                <a16:creationId xmlns:a16="http://schemas.microsoft.com/office/drawing/2014/main" id="{7F064CE0-3C60-4262-AD7C-E19BD8FBDF77}"/>
              </a:ext>
            </a:extLst>
          </p:cNvPr>
          <p:cNvGrpSpPr/>
          <p:nvPr/>
        </p:nvGrpSpPr>
        <p:grpSpPr>
          <a:xfrm>
            <a:off x="958894" y="4424182"/>
            <a:ext cx="1403268" cy="1352118"/>
            <a:chOff x="605484" y="4638542"/>
            <a:chExt cx="1403268" cy="1352118"/>
          </a:xfrm>
        </p:grpSpPr>
        <p:sp>
          <p:nvSpPr>
            <p:cNvPr id="15" name="TextBox 14">
              <a:extLst>
                <a:ext uri="{FF2B5EF4-FFF2-40B4-BE49-F238E27FC236}">
                  <a16:creationId xmlns:a16="http://schemas.microsoft.com/office/drawing/2014/main" id="{D06F190F-0746-407F-8168-AC4D6378BE1A}"/>
                </a:ext>
              </a:extLst>
            </p:cNvPr>
            <p:cNvSpPr txBox="1"/>
            <p:nvPr/>
          </p:nvSpPr>
          <p:spPr>
            <a:xfrm>
              <a:off x="605484" y="5380220"/>
              <a:ext cx="1403268"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ocument Reviews</a:t>
              </a:r>
            </a:p>
            <a:p>
              <a:r>
                <a:rPr lang="en-US" i="1" kern="0">
                  <a:solidFill>
                    <a:srgbClr val="009AD7"/>
                  </a:solidFill>
                  <a:ea typeface="Arial Unicode MS"/>
                  <a:cs typeface="Arial Unicode MS"/>
                </a:rPr>
                <a:t>35+</a:t>
              </a:r>
              <a:r>
                <a:rPr lang="en-US" i="1" kern="0">
                  <a:solidFill>
                    <a:srgbClr val="6F7878"/>
                  </a:solidFill>
                  <a:ea typeface="Arial Unicode MS"/>
                  <a:cs typeface="Arial Unicode MS"/>
                </a:rPr>
                <a:t> </a:t>
              </a:r>
              <a:r>
                <a:rPr lang="en-US" b="0" i="1" kern="0">
                  <a:solidFill>
                    <a:srgbClr val="6F7878"/>
                  </a:solidFill>
                  <a:ea typeface="Arial Unicode MS"/>
                  <a:cs typeface="Arial Unicode MS"/>
                </a:rPr>
                <a:t>Documents</a:t>
              </a:r>
            </a:p>
          </p:txBody>
        </p:sp>
        <p:sp>
          <p:nvSpPr>
            <p:cNvPr id="16" name="Freeform: Shape 15">
              <a:extLst>
                <a:ext uri="{FF2B5EF4-FFF2-40B4-BE49-F238E27FC236}">
                  <a16:creationId xmlns:a16="http://schemas.microsoft.com/office/drawing/2014/main" id="{3B41723A-D2A1-4040-B1F6-B5BF16068F62}"/>
                </a:ext>
              </a:extLst>
            </p:cNvPr>
            <p:cNvSpPr>
              <a:spLocks noChangeAspect="1"/>
            </p:cNvSpPr>
            <p:nvPr/>
          </p:nvSpPr>
          <p:spPr bwMode="gray">
            <a:xfrm>
              <a:off x="1064231" y="4830880"/>
              <a:ext cx="485775" cy="533400"/>
            </a:xfrm>
            <a:custGeom>
              <a:avLst/>
              <a:gdLst>
                <a:gd name="connsiteX0" fmla="*/ 384048 w 485775"/>
                <a:gd name="connsiteY0" fmla="*/ 121444 h 533400"/>
                <a:gd name="connsiteX1" fmla="*/ 220790 w 485775"/>
                <a:gd name="connsiteY1" fmla="*/ 121444 h 533400"/>
                <a:gd name="connsiteX2" fmla="*/ 220790 w 485775"/>
                <a:gd name="connsiteY2" fmla="*/ 83344 h 533400"/>
                <a:gd name="connsiteX3" fmla="*/ 384048 w 485775"/>
                <a:gd name="connsiteY3" fmla="*/ 83344 h 533400"/>
                <a:gd name="connsiteX4" fmla="*/ 384048 w 485775"/>
                <a:gd name="connsiteY4" fmla="*/ 121444 h 533400"/>
                <a:gd name="connsiteX5" fmla="*/ 411194 w 485775"/>
                <a:gd name="connsiteY5" fmla="*/ 150019 h 533400"/>
                <a:gd name="connsiteX6" fmla="*/ 220694 w 485775"/>
                <a:gd name="connsiteY6" fmla="*/ 150019 h 533400"/>
                <a:gd name="connsiteX7" fmla="*/ 220694 w 485775"/>
                <a:gd name="connsiteY7" fmla="*/ 188119 h 533400"/>
                <a:gd name="connsiteX8" fmla="*/ 411194 w 485775"/>
                <a:gd name="connsiteY8" fmla="*/ 188119 h 533400"/>
                <a:gd name="connsiteX9" fmla="*/ 411194 w 485775"/>
                <a:gd name="connsiteY9" fmla="*/ 150019 h 533400"/>
                <a:gd name="connsiteX10" fmla="*/ 487394 w 485775"/>
                <a:gd name="connsiteY10" fmla="*/ 7144 h 533400"/>
                <a:gd name="connsiteX11" fmla="*/ 487394 w 485775"/>
                <a:gd name="connsiteY11" fmla="*/ 330994 h 533400"/>
                <a:gd name="connsiteX12" fmla="*/ 373094 w 485775"/>
                <a:gd name="connsiteY12" fmla="*/ 445294 h 533400"/>
                <a:gd name="connsiteX13" fmla="*/ 256223 w 485775"/>
                <a:gd name="connsiteY13" fmla="*/ 445294 h 533400"/>
                <a:gd name="connsiteX14" fmla="*/ 251746 w 485775"/>
                <a:gd name="connsiteY14" fmla="*/ 451295 h 533400"/>
                <a:gd name="connsiteX15" fmla="*/ 236220 w 485775"/>
                <a:gd name="connsiteY15" fmla="*/ 466820 h 533400"/>
                <a:gd name="connsiteX16" fmla="*/ 197548 w 485775"/>
                <a:gd name="connsiteY16" fmla="*/ 487775 h 533400"/>
                <a:gd name="connsiteX17" fmla="*/ 163544 w 485775"/>
                <a:gd name="connsiteY17" fmla="*/ 492919 h 533400"/>
                <a:gd name="connsiteX18" fmla="*/ 129540 w 485775"/>
                <a:gd name="connsiteY18" fmla="*/ 487775 h 533400"/>
                <a:gd name="connsiteX19" fmla="*/ 120968 w 485775"/>
                <a:gd name="connsiteY19" fmla="*/ 484727 h 533400"/>
                <a:gd name="connsiteX20" fmla="*/ 97346 w 485775"/>
                <a:gd name="connsiteY20" fmla="*/ 471773 h 533400"/>
                <a:gd name="connsiteX21" fmla="*/ 34100 w 485775"/>
                <a:gd name="connsiteY21" fmla="*/ 535019 h 533400"/>
                <a:gd name="connsiteX22" fmla="*/ 7144 w 485775"/>
                <a:gd name="connsiteY22" fmla="*/ 508064 h 533400"/>
                <a:gd name="connsiteX23" fmla="*/ 70390 w 485775"/>
                <a:gd name="connsiteY23" fmla="*/ 444818 h 533400"/>
                <a:gd name="connsiteX24" fmla="*/ 57436 w 485775"/>
                <a:gd name="connsiteY24" fmla="*/ 421196 h 533400"/>
                <a:gd name="connsiteX25" fmla="*/ 54388 w 485775"/>
                <a:gd name="connsiteY25" fmla="*/ 412623 h 533400"/>
                <a:gd name="connsiteX26" fmla="*/ 49244 w 485775"/>
                <a:gd name="connsiteY26" fmla="*/ 378619 h 533400"/>
                <a:gd name="connsiteX27" fmla="*/ 54388 w 485775"/>
                <a:gd name="connsiteY27" fmla="*/ 344615 h 533400"/>
                <a:gd name="connsiteX28" fmla="*/ 75343 w 485775"/>
                <a:gd name="connsiteY28" fmla="*/ 305943 h 533400"/>
                <a:gd name="connsiteX29" fmla="*/ 90869 w 485775"/>
                <a:gd name="connsiteY29" fmla="*/ 290417 h 533400"/>
                <a:gd name="connsiteX30" fmla="*/ 109061 w 485775"/>
                <a:gd name="connsiteY30" fmla="*/ 278130 h 533400"/>
                <a:gd name="connsiteX31" fmla="*/ 129540 w 485775"/>
                <a:gd name="connsiteY31" fmla="*/ 269462 h 533400"/>
                <a:gd name="connsiteX32" fmla="*/ 144494 w 485775"/>
                <a:gd name="connsiteY32" fmla="*/ 266033 h 533400"/>
                <a:gd name="connsiteX33" fmla="*/ 144494 w 485775"/>
                <a:gd name="connsiteY33" fmla="*/ 7144 h 533400"/>
                <a:gd name="connsiteX34" fmla="*/ 487394 w 485775"/>
                <a:gd name="connsiteY34" fmla="*/ 7144 h 533400"/>
                <a:gd name="connsiteX35" fmla="*/ 200406 w 485775"/>
                <a:gd name="connsiteY35" fmla="*/ 445294 h 533400"/>
                <a:gd name="connsiteX36" fmla="*/ 234220 w 485775"/>
                <a:gd name="connsiteY36" fmla="*/ 407194 h 533400"/>
                <a:gd name="connsiteX37" fmla="*/ 239840 w 485775"/>
                <a:gd name="connsiteY37" fmla="*/ 378619 h 533400"/>
                <a:gd name="connsiteX38" fmla="*/ 182690 w 485775"/>
                <a:gd name="connsiteY38" fmla="*/ 304895 h 533400"/>
                <a:gd name="connsiteX39" fmla="*/ 163640 w 485775"/>
                <a:gd name="connsiteY39" fmla="*/ 302419 h 533400"/>
                <a:gd name="connsiteX40" fmla="*/ 144590 w 485775"/>
                <a:gd name="connsiteY40" fmla="*/ 304895 h 533400"/>
                <a:gd name="connsiteX41" fmla="*/ 87440 w 485775"/>
                <a:gd name="connsiteY41" fmla="*/ 378619 h 533400"/>
                <a:gd name="connsiteX42" fmla="*/ 163640 w 485775"/>
                <a:gd name="connsiteY42" fmla="*/ 454819 h 533400"/>
                <a:gd name="connsiteX43" fmla="*/ 200406 w 485775"/>
                <a:gd name="connsiteY43" fmla="*/ 445294 h 533400"/>
                <a:gd name="connsiteX44" fmla="*/ 277844 w 485775"/>
                <a:gd name="connsiteY44" fmla="*/ 378619 h 533400"/>
                <a:gd name="connsiteX45" fmla="*/ 274130 w 485775"/>
                <a:gd name="connsiteY45" fmla="*/ 407194 h 533400"/>
                <a:gd name="connsiteX46" fmla="*/ 334994 w 485775"/>
                <a:gd name="connsiteY46" fmla="*/ 407194 h 533400"/>
                <a:gd name="connsiteX47" fmla="*/ 334994 w 485775"/>
                <a:gd name="connsiteY47" fmla="*/ 292894 h 533400"/>
                <a:gd name="connsiteX48" fmla="*/ 449294 w 485775"/>
                <a:gd name="connsiteY48" fmla="*/ 292894 h 533400"/>
                <a:gd name="connsiteX49" fmla="*/ 449294 w 485775"/>
                <a:gd name="connsiteY49" fmla="*/ 45244 h 533400"/>
                <a:gd name="connsiteX50" fmla="*/ 182594 w 485775"/>
                <a:gd name="connsiteY50" fmla="*/ 45244 h 533400"/>
                <a:gd name="connsiteX51" fmla="*/ 182594 w 485775"/>
                <a:gd name="connsiteY51" fmla="*/ 266033 h 533400"/>
                <a:gd name="connsiteX52" fmla="*/ 277844 w 485775"/>
                <a:gd name="connsiteY52" fmla="*/ 378619 h 533400"/>
                <a:gd name="connsiteX53" fmla="*/ 433578 w 485775"/>
                <a:gd name="connsiteY53" fmla="*/ 330994 h 533400"/>
                <a:gd name="connsiteX54" fmla="*/ 373190 w 485775"/>
                <a:gd name="connsiteY54" fmla="*/ 330994 h 533400"/>
                <a:gd name="connsiteX55" fmla="*/ 373190 w 485775"/>
                <a:gd name="connsiteY55" fmla="*/ 391382 h 533400"/>
                <a:gd name="connsiteX56" fmla="*/ 433578 w 485775"/>
                <a:gd name="connsiteY56" fmla="*/ 330994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5775" h="533400">
                  <a:moveTo>
                    <a:pt x="384048" y="121444"/>
                  </a:moveTo>
                  <a:lnTo>
                    <a:pt x="220790" y="121444"/>
                  </a:lnTo>
                  <a:lnTo>
                    <a:pt x="220790" y="83344"/>
                  </a:lnTo>
                  <a:lnTo>
                    <a:pt x="384048" y="83344"/>
                  </a:lnTo>
                  <a:lnTo>
                    <a:pt x="384048" y="121444"/>
                  </a:lnTo>
                  <a:close/>
                  <a:moveTo>
                    <a:pt x="411194" y="150019"/>
                  </a:moveTo>
                  <a:lnTo>
                    <a:pt x="220694" y="150019"/>
                  </a:lnTo>
                  <a:lnTo>
                    <a:pt x="220694" y="188119"/>
                  </a:lnTo>
                  <a:lnTo>
                    <a:pt x="411194" y="188119"/>
                  </a:lnTo>
                  <a:lnTo>
                    <a:pt x="411194" y="150019"/>
                  </a:lnTo>
                  <a:close/>
                  <a:moveTo>
                    <a:pt x="487394" y="7144"/>
                  </a:moveTo>
                  <a:lnTo>
                    <a:pt x="487394" y="330994"/>
                  </a:lnTo>
                  <a:lnTo>
                    <a:pt x="373094" y="445294"/>
                  </a:lnTo>
                  <a:lnTo>
                    <a:pt x="256223" y="445294"/>
                  </a:lnTo>
                  <a:cubicBezTo>
                    <a:pt x="254794" y="447294"/>
                    <a:pt x="253270" y="449390"/>
                    <a:pt x="251746" y="451295"/>
                  </a:cubicBezTo>
                  <a:cubicBezTo>
                    <a:pt x="247079" y="456914"/>
                    <a:pt x="241935" y="462153"/>
                    <a:pt x="236220" y="466820"/>
                  </a:cubicBezTo>
                  <a:cubicBezTo>
                    <a:pt x="224885" y="476155"/>
                    <a:pt x="211836" y="483299"/>
                    <a:pt x="197548" y="487775"/>
                  </a:cubicBezTo>
                  <a:cubicBezTo>
                    <a:pt x="186785" y="491109"/>
                    <a:pt x="175355" y="492919"/>
                    <a:pt x="163544" y="492919"/>
                  </a:cubicBezTo>
                  <a:cubicBezTo>
                    <a:pt x="151733" y="492919"/>
                    <a:pt x="140303" y="491109"/>
                    <a:pt x="129540" y="487775"/>
                  </a:cubicBezTo>
                  <a:cubicBezTo>
                    <a:pt x="126587" y="486823"/>
                    <a:pt x="123730" y="485870"/>
                    <a:pt x="120968" y="484727"/>
                  </a:cubicBezTo>
                  <a:cubicBezTo>
                    <a:pt x="112586" y="481298"/>
                    <a:pt x="104680" y="476917"/>
                    <a:pt x="97346" y="471773"/>
                  </a:cubicBezTo>
                  <a:lnTo>
                    <a:pt x="34100" y="535019"/>
                  </a:lnTo>
                  <a:lnTo>
                    <a:pt x="7144" y="508064"/>
                  </a:lnTo>
                  <a:lnTo>
                    <a:pt x="70390" y="444818"/>
                  </a:lnTo>
                  <a:cubicBezTo>
                    <a:pt x="65151" y="437483"/>
                    <a:pt x="60769" y="429673"/>
                    <a:pt x="57436" y="421196"/>
                  </a:cubicBezTo>
                  <a:cubicBezTo>
                    <a:pt x="56293" y="418433"/>
                    <a:pt x="55245" y="415576"/>
                    <a:pt x="54388" y="412623"/>
                  </a:cubicBezTo>
                  <a:cubicBezTo>
                    <a:pt x="51054" y="401860"/>
                    <a:pt x="49244" y="390430"/>
                    <a:pt x="49244" y="378619"/>
                  </a:cubicBezTo>
                  <a:cubicBezTo>
                    <a:pt x="49244" y="366808"/>
                    <a:pt x="51054" y="355378"/>
                    <a:pt x="54388" y="344615"/>
                  </a:cubicBezTo>
                  <a:cubicBezTo>
                    <a:pt x="58865" y="330327"/>
                    <a:pt x="66008" y="317183"/>
                    <a:pt x="75343" y="305943"/>
                  </a:cubicBezTo>
                  <a:cubicBezTo>
                    <a:pt x="80010" y="300323"/>
                    <a:pt x="85154" y="295085"/>
                    <a:pt x="90869" y="290417"/>
                  </a:cubicBezTo>
                  <a:cubicBezTo>
                    <a:pt x="96488" y="285750"/>
                    <a:pt x="102584" y="281654"/>
                    <a:pt x="109061" y="278130"/>
                  </a:cubicBezTo>
                  <a:cubicBezTo>
                    <a:pt x="115538" y="274606"/>
                    <a:pt x="122396" y="271653"/>
                    <a:pt x="129540" y="269462"/>
                  </a:cubicBezTo>
                  <a:cubicBezTo>
                    <a:pt x="134398" y="267938"/>
                    <a:pt x="139351" y="266891"/>
                    <a:pt x="144494" y="266033"/>
                  </a:cubicBezTo>
                  <a:lnTo>
                    <a:pt x="144494" y="7144"/>
                  </a:lnTo>
                  <a:lnTo>
                    <a:pt x="487394" y="7144"/>
                  </a:lnTo>
                  <a:close/>
                  <a:moveTo>
                    <a:pt x="200406" y="445294"/>
                  </a:moveTo>
                  <a:cubicBezTo>
                    <a:pt x="215551" y="436912"/>
                    <a:pt x="227552" y="423386"/>
                    <a:pt x="234220" y="407194"/>
                  </a:cubicBezTo>
                  <a:cubicBezTo>
                    <a:pt x="237839" y="398336"/>
                    <a:pt x="239840" y="388715"/>
                    <a:pt x="239840" y="378619"/>
                  </a:cubicBezTo>
                  <a:cubicBezTo>
                    <a:pt x="239840" y="343186"/>
                    <a:pt x="215456" y="313373"/>
                    <a:pt x="182690" y="304895"/>
                  </a:cubicBezTo>
                  <a:cubicBezTo>
                    <a:pt x="176594" y="303276"/>
                    <a:pt x="170212" y="302419"/>
                    <a:pt x="163640" y="302419"/>
                  </a:cubicBezTo>
                  <a:cubicBezTo>
                    <a:pt x="157067" y="302419"/>
                    <a:pt x="150686" y="303371"/>
                    <a:pt x="144590" y="304895"/>
                  </a:cubicBezTo>
                  <a:cubicBezTo>
                    <a:pt x="111823" y="313373"/>
                    <a:pt x="87440" y="343186"/>
                    <a:pt x="87440" y="378619"/>
                  </a:cubicBezTo>
                  <a:cubicBezTo>
                    <a:pt x="87440" y="420624"/>
                    <a:pt x="121634" y="454819"/>
                    <a:pt x="163640" y="454819"/>
                  </a:cubicBezTo>
                  <a:cubicBezTo>
                    <a:pt x="176975" y="454819"/>
                    <a:pt x="189452" y="451390"/>
                    <a:pt x="200406" y="445294"/>
                  </a:cubicBezTo>
                  <a:close/>
                  <a:moveTo>
                    <a:pt x="277844" y="378619"/>
                  </a:moveTo>
                  <a:cubicBezTo>
                    <a:pt x="277844" y="388525"/>
                    <a:pt x="276415" y="398050"/>
                    <a:pt x="274130" y="407194"/>
                  </a:cubicBezTo>
                  <a:lnTo>
                    <a:pt x="334994" y="407194"/>
                  </a:lnTo>
                  <a:lnTo>
                    <a:pt x="334994" y="292894"/>
                  </a:lnTo>
                  <a:lnTo>
                    <a:pt x="449294" y="292894"/>
                  </a:lnTo>
                  <a:lnTo>
                    <a:pt x="449294" y="45244"/>
                  </a:lnTo>
                  <a:lnTo>
                    <a:pt x="182594" y="45244"/>
                  </a:lnTo>
                  <a:lnTo>
                    <a:pt x="182594" y="266033"/>
                  </a:lnTo>
                  <a:cubicBezTo>
                    <a:pt x="236696" y="275177"/>
                    <a:pt x="277844" y="322040"/>
                    <a:pt x="277844" y="378619"/>
                  </a:cubicBezTo>
                  <a:close/>
                  <a:moveTo>
                    <a:pt x="433578" y="330994"/>
                  </a:moveTo>
                  <a:lnTo>
                    <a:pt x="373190" y="330994"/>
                  </a:lnTo>
                  <a:lnTo>
                    <a:pt x="373190" y="391382"/>
                  </a:lnTo>
                  <a:lnTo>
                    <a:pt x="433578" y="330994"/>
                  </a:lnTo>
                  <a:close/>
                </a:path>
              </a:pathLst>
            </a:custGeom>
            <a:solidFill>
              <a:srgbClr val="06C4B0"/>
            </a:solidFill>
            <a:ln w="9525"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27824C49-7098-49BC-874F-0CA9554C5906}"/>
                </a:ext>
              </a:extLst>
            </p:cNvPr>
            <p:cNvSpPr/>
            <p:nvPr/>
          </p:nvSpPr>
          <p:spPr>
            <a:xfrm>
              <a:off x="616973" y="4638542"/>
              <a:ext cx="1380291" cy="1352118"/>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sp>
        <p:nvSpPr>
          <p:cNvPr id="18" name="Rectangle 17">
            <a:extLst>
              <a:ext uri="{FF2B5EF4-FFF2-40B4-BE49-F238E27FC236}">
                <a16:creationId xmlns:a16="http://schemas.microsoft.com/office/drawing/2014/main" id="{2E3C5094-57D8-4771-87C2-BF538406C4BE}"/>
              </a:ext>
            </a:extLst>
          </p:cNvPr>
          <p:cNvSpPr/>
          <p:nvPr/>
        </p:nvSpPr>
        <p:spPr>
          <a:xfrm>
            <a:off x="5582475" y="1618028"/>
            <a:ext cx="1952807" cy="1927287"/>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19" name="Rectangle 18">
            <a:extLst>
              <a:ext uri="{FF2B5EF4-FFF2-40B4-BE49-F238E27FC236}">
                <a16:creationId xmlns:a16="http://schemas.microsoft.com/office/drawing/2014/main" id="{B073BA18-C3C9-4A4E-B0C1-C02B808EA8EB}"/>
              </a:ext>
            </a:extLst>
          </p:cNvPr>
          <p:cNvSpPr/>
          <p:nvPr/>
        </p:nvSpPr>
        <p:spPr>
          <a:xfrm>
            <a:off x="5582474" y="3849013"/>
            <a:ext cx="1952808" cy="1927287"/>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20" name="Group 19">
            <a:extLst>
              <a:ext uri="{FF2B5EF4-FFF2-40B4-BE49-F238E27FC236}">
                <a16:creationId xmlns:a16="http://schemas.microsoft.com/office/drawing/2014/main" id="{878EFB62-DC4D-44F6-A275-73CD8C43C511}"/>
              </a:ext>
            </a:extLst>
          </p:cNvPr>
          <p:cNvGrpSpPr/>
          <p:nvPr/>
        </p:nvGrpSpPr>
        <p:grpSpPr>
          <a:xfrm>
            <a:off x="9164912" y="2475994"/>
            <a:ext cx="1668167" cy="1936011"/>
            <a:chOff x="8544018" y="2566784"/>
            <a:chExt cx="1668167" cy="1936011"/>
          </a:xfrm>
        </p:grpSpPr>
        <p:sp>
          <p:nvSpPr>
            <p:cNvPr id="21" name="Rectangle 20">
              <a:extLst>
                <a:ext uri="{FF2B5EF4-FFF2-40B4-BE49-F238E27FC236}">
                  <a16:creationId xmlns:a16="http://schemas.microsoft.com/office/drawing/2014/main" id="{10A92EC0-0630-40E2-89B2-2E9B869353E7}"/>
                </a:ext>
              </a:extLst>
            </p:cNvPr>
            <p:cNvSpPr/>
            <p:nvPr/>
          </p:nvSpPr>
          <p:spPr>
            <a:xfrm>
              <a:off x="8648310" y="2612698"/>
              <a:ext cx="1459582" cy="1803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 name="TextBox 21">
              <a:extLst>
                <a:ext uri="{FF2B5EF4-FFF2-40B4-BE49-F238E27FC236}">
                  <a16:creationId xmlns:a16="http://schemas.microsoft.com/office/drawing/2014/main" id="{4400046F-C970-43FC-B842-F3761D9B550A}"/>
                </a:ext>
              </a:extLst>
            </p:cNvPr>
            <p:cNvSpPr txBox="1"/>
            <p:nvPr/>
          </p:nvSpPr>
          <p:spPr>
            <a:xfrm>
              <a:off x="8810168" y="3242215"/>
              <a:ext cx="1135867" cy="1260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Roadmap</a:t>
              </a:r>
            </a:p>
            <a:p>
              <a:r>
                <a:rPr lang="en-US" b="0" i="1" kern="0">
                  <a:solidFill>
                    <a:srgbClr val="6F7878"/>
                  </a:solidFill>
                </a:rPr>
                <a:t>Detailed, prioritized actionable steps to achieve the target state design</a:t>
              </a:r>
              <a:endParaRPr lang="en-US"/>
            </a:p>
          </p:txBody>
        </p:sp>
        <p:sp>
          <p:nvSpPr>
            <p:cNvPr id="23" name="Freeform: Shape 22">
              <a:extLst>
                <a:ext uri="{FF2B5EF4-FFF2-40B4-BE49-F238E27FC236}">
                  <a16:creationId xmlns:a16="http://schemas.microsoft.com/office/drawing/2014/main" id="{A11C395D-CB29-497C-A62A-F99FDCEC7FDE}"/>
                </a:ext>
              </a:extLst>
            </p:cNvPr>
            <p:cNvSpPr>
              <a:spLocks noChangeAspect="1"/>
            </p:cNvSpPr>
            <p:nvPr/>
          </p:nvSpPr>
          <p:spPr bwMode="gray">
            <a:xfrm>
              <a:off x="9173314" y="2699619"/>
              <a:ext cx="409575" cy="495300"/>
            </a:xfrm>
            <a:custGeom>
              <a:avLst/>
              <a:gdLst>
                <a:gd name="connsiteX0" fmla="*/ 50768 w 409575"/>
                <a:gd name="connsiteY0" fmla="*/ 134779 h 495300"/>
                <a:gd name="connsiteX1" fmla="*/ 84963 w 409575"/>
                <a:gd name="connsiteY1" fmla="*/ 100584 h 495300"/>
                <a:gd name="connsiteX2" fmla="*/ 50768 w 409575"/>
                <a:gd name="connsiteY2" fmla="*/ 66389 h 495300"/>
                <a:gd name="connsiteX3" fmla="*/ 77724 w 409575"/>
                <a:gd name="connsiteY3" fmla="*/ 39434 h 495300"/>
                <a:gd name="connsiteX4" fmla="*/ 111919 w 409575"/>
                <a:gd name="connsiteY4" fmla="*/ 73628 h 495300"/>
                <a:gd name="connsiteX5" fmla="*/ 146113 w 409575"/>
                <a:gd name="connsiteY5" fmla="*/ 39434 h 495300"/>
                <a:gd name="connsiteX6" fmla="*/ 173069 w 409575"/>
                <a:gd name="connsiteY6" fmla="*/ 66389 h 495300"/>
                <a:gd name="connsiteX7" fmla="*/ 138874 w 409575"/>
                <a:gd name="connsiteY7" fmla="*/ 100584 h 495300"/>
                <a:gd name="connsiteX8" fmla="*/ 173069 w 409575"/>
                <a:gd name="connsiteY8" fmla="*/ 134779 h 495300"/>
                <a:gd name="connsiteX9" fmla="*/ 146113 w 409575"/>
                <a:gd name="connsiteY9" fmla="*/ 161735 h 495300"/>
                <a:gd name="connsiteX10" fmla="*/ 111919 w 409575"/>
                <a:gd name="connsiteY10" fmla="*/ 127540 h 495300"/>
                <a:gd name="connsiteX11" fmla="*/ 77724 w 409575"/>
                <a:gd name="connsiteY11" fmla="*/ 161735 h 495300"/>
                <a:gd name="connsiteX12" fmla="*/ 50768 w 409575"/>
                <a:gd name="connsiteY12" fmla="*/ 134779 h 495300"/>
                <a:gd name="connsiteX13" fmla="*/ 411099 w 409575"/>
                <a:gd name="connsiteY13" fmla="*/ 87154 h 495300"/>
                <a:gd name="connsiteX14" fmla="*/ 384143 w 409575"/>
                <a:gd name="connsiteY14" fmla="*/ 114110 h 495300"/>
                <a:gd name="connsiteX15" fmla="*/ 349377 w 409575"/>
                <a:gd name="connsiteY15" fmla="*/ 79343 h 495300"/>
                <a:gd name="connsiteX16" fmla="*/ 349377 w 409575"/>
                <a:gd name="connsiteY16" fmla="*/ 268224 h 495300"/>
                <a:gd name="connsiteX17" fmla="*/ 91821 w 409575"/>
                <a:gd name="connsiteY17" fmla="*/ 268224 h 495300"/>
                <a:gd name="connsiteX18" fmla="*/ 92678 w 409575"/>
                <a:gd name="connsiteY18" fmla="*/ 360521 h 495300"/>
                <a:gd name="connsiteX19" fmla="*/ 140494 w 409575"/>
                <a:gd name="connsiteY19" fmla="*/ 424434 h 495300"/>
                <a:gd name="connsiteX20" fmla="*/ 73819 w 409575"/>
                <a:gd name="connsiteY20" fmla="*/ 491109 h 495300"/>
                <a:gd name="connsiteX21" fmla="*/ 7144 w 409575"/>
                <a:gd name="connsiteY21" fmla="*/ 424434 h 495300"/>
                <a:gd name="connsiteX22" fmla="*/ 54578 w 409575"/>
                <a:gd name="connsiteY22" fmla="*/ 360617 h 495300"/>
                <a:gd name="connsiteX23" fmla="*/ 53340 w 409575"/>
                <a:gd name="connsiteY23" fmla="*/ 230124 h 495300"/>
                <a:gd name="connsiteX24" fmla="*/ 311277 w 409575"/>
                <a:gd name="connsiteY24" fmla="*/ 230124 h 495300"/>
                <a:gd name="connsiteX25" fmla="*/ 311277 w 409575"/>
                <a:gd name="connsiteY25" fmla="*/ 81058 h 495300"/>
                <a:gd name="connsiteX26" fmla="*/ 278321 w 409575"/>
                <a:gd name="connsiteY26" fmla="*/ 114014 h 495300"/>
                <a:gd name="connsiteX27" fmla="*/ 251365 w 409575"/>
                <a:gd name="connsiteY27" fmla="*/ 87059 h 495300"/>
                <a:gd name="connsiteX28" fmla="*/ 331184 w 409575"/>
                <a:gd name="connsiteY28" fmla="*/ 7144 h 495300"/>
                <a:gd name="connsiteX29" fmla="*/ 411099 w 409575"/>
                <a:gd name="connsiteY29" fmla="*/ 87154 h 495300"/>
                <a:gd name="connsiteX30" fmla="*/ 73819 w 409575"/>
                <a:gd name="connsiteY30" fmla="*/ 395859 h 495300"/>
                <a:gd name="connsiteX31" fmla="*/ 45244 w 409575"/>
                <a:gd name="connsiteY31" fmla="*/ 424434 h 495300"/>
                <a:gd name="connsiteX32" fmla="*/ 73819 w 409575"/>
                <a:gd name="connsiteY32" fmla="*/ 453009 h 495300"/>
                <a:gd name="connsiteX33" fmla="*/ 102394 w 409575"/>
                <a:gd name="connsiteY33" fmla="*/ 424434 h 495300"/>
                <a:gd name="connsiteX34" fmla="*/ 73819 w 409575"/>
                <a:gd name="connsiteY34" fmla="*/ 395859 h 495300"/>
                <a:gd name="connsiteX35" fmla="*/ 327565 w 409575"/>
                <a:gd name="connsiteY35" fmla="*/ 344329 h 495300"/>
                <a:gd name="connsiteX36" fmla="*/ 293370 w 409575"/>
                <a:gd name="connsiteY36" fmla="*/ 378524 h 495300"/>
                <a:gd name="connsiteX37" fmla="*/ 259175 w 409575"/>
                <a:gd name="connsiteY37" fmla="*/ 344329 h 495300"/>
                <a:gd name="connsiteX38" fmla="*/ 232220 w 409575"/>
                <a:gd name="connsiteY38" fmla="*/ 371285 h 495300"/>
                <a:gd name="connsiteX39" fmla="*/ 266414 w 409575"/>
                <a:gd name="connsiteY39" fmla="*/ 405479 h 495300"/>
                <a:gd name="connsiteX40" fmla="*/ 232220 w 409575"/>
                <a:gd name="connsiteY40" fmla="*/ 439674 h 495300"/>
                <a:gd name="connsiteX41" fmla="*/ 259175 w 409575"/>
                <a:gd name="connsiteY41" fmla="*/ 466630 h 495300"/>
                <a:gd name="connsiteX42" fmla="*/ 293370 w 409575"/>
                <a:gd name="connsiteY42" fmla="*/ 432435 h 495300"/>
                <a:gd name="connsiteX43" fmla="*/ 327565 w 409575"/>
                <a:gd name="connsiteY43" fmla="*/ 466630 h 495300"/>
                <a:gd name="connsiteX44" fmla="*/ 354521 w 409575"/>
                <a:gd name="connsiteY44" fmla="*/ 439674 h 495300"/>
                <a:gd name="connsiteX45" fmla="*/ 320326 w 409575"/>
                <a:gd name="connsiteY45" fmla="*/ 405479 h 495300"/>
                <a:gd name="connsiteX46" fmla="*/ 354521 w 409575"/>
                <a:gd name="connsiteY46" fmla="*/ 371285 h 495300"/>
                <a:gd name="connsiteX47" fmla="*/ 327565 w 409575"/>
                <a:gd name="connsiteY47" fmla="*/ 344329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9575" h="495300">
                  <a:moveTo>
                    <a:pt x="50768" y="134779"/>
                  </a:moveTo>
                  <a:lnTo>
                    <a:pt x="84963" y="100584"/>
                  </a:lnTo>
                  <a:lnTo>
                    <a:pt x="50768" y="66389"/>
                  </a:lnTo>
                  <a:lnTo>
                    <a:pt x="77724" y="39434"/>
                  </a:lnTo>
                  <a:lnTo>
                    <a:pt x="111919" y="73628"/>
                  </a:lnTo>
                  <a:lnTo>
                    <a:pt x="146113" y="39434"/>
                  </a:lnTo>
                  <a:lnTo>
                    <a:pt x="173069" y="66389"/>
                  </a:lnTo>
                  <a:lnTo>
                    <a:pt x="138874" y="100584"/>
                  </a:lnTo>
                  <a:lnTo>
                    <a:pt x="173069" y="134779"/>
                  </a:lnTo>
                  <a:lnTo>
                    <a:pt x="146113" y="161735"/>
                  </a:lnTo>
                  <a:lnTo>
                    <a:pt x="111919" y="127540"/>
                  </a:lnTo>
                  <a:lnTo>
                    <a:pt x="77724" y="161735"/>
                  </a:lnTo>
                  <a:lnTo>
                    <a:pt x="50768" y="134779"/>
                  </a:lnTo>
                  <a:close/>
                  <a:moveTo>
                    <a:pt x="411099" y="87154"/>
                  </a:moveTo>
                  <a:lnTo>
                    <a:pt x="384143" y="114110"/>
                  </a:lnTo>
                  <a:lnTo>
                    <a:pt x="349377" y="79343"/>
                  </a:lnTo>
                  <a:lnTo>
                    <a:pt x="349377" y="268224"/>
                  </a:lnTo>
                  <a:lnTo>
                    <a:pt x="91821" y="268224"/>
                  </a:lnTo>
                  <a:lnTo>
                    <a:pt x="92678" y="360521"/>
                  </a:lnTo>
                  <a:cubicBezTo>
                    <a:pt x="120301" y="368713"/>
                    <a:pt x="140494" y="394240"/>
                    <a:pt x="140494" y="424434"/>
                  </a:cubicBezTo>
                  <a:cubicBezTo>
                    <a:pt x="140494" y="461201"/>
                    <a:pt x="110585" y="491109"/>
                    <a:pt x="73819" y="491109"/>
                  </a:cubicBezTo>
                  <a:cubicBezTo>
                    <a:pt x="37052" y="491109"/>
                    <a:pt x="7144" y="461201"/>
                    <a:pt x="7144" y="424434"/>
                  </a:cubicBezTo>
                  <a:cubicBezTo>
                    <a:pt x="7144" y="394335"/>
                    <a:pt x="27146" y="368903"/>
                    <a:pt x="54578" y="360617"/>
                  </a:cubicBezTo>
                  <a:lnTo>
                    <a:pt x="53340" y="230124"/>
                  </a:lnTo>
                  <a:lnTo>
                    <a:pt x="311277" y="230124"/>
                  </a:lnTo>
                  <a:lnTo>
                    <a:pt x="311277" y="81058"/>
                  </a:lnTo>
                  <a:lnTo>
                    <a:pt x="278321" y="114014"/>
                  </a:lnTo>
                  <a:lnTo>
                    <a:pt x="251365" y="87059"/>
                  </a:lnTo>
                  <a:lnTo>
                    <a:pt x="331184" y="7144"/>
                  </a:lnTo>
                  <a:lnTo>
                    <a:pt x="411099" y="87154"/>
                  </a:lnTo>
                  <a:close/>
                  <a:moveTo>
                    <a:pt x="73819" y="395859"/>
                  </a:moveTo>
                  <a:cubicBezTo>
                    <a:pt x="58103" y="395859"/>
                    <a:pt x="45244" y="408718"/>
                    <a:pt x="45244" y="424434"/>
                  </a:cubicBezTo>
                  <a:cubicBezTo>
                    <a:pt x="45244" y="440150"/>
                    <a:pt x="58103" y="453009"/>
                    <a:pt x="73819" y="453009"/>
                  </a:cubicBezTo>
                  <a:cubicBezTo>
                    <a:pt x="89535" y="453009"/>
                    <a:pt x="102394" y="440150"/>
                    <a:pt x="102394" y="424434"/>
                  </a:cubicBezTo>
                  <a:cubicBezTo>
                    <a:pt x="102394" y="408718"/>
                    <a:pt x="89535" y="395859"/>
                    <a:pt x="73819" y="395859"/>
                  </a:cubicBezTo>
                  <a:close/>
                  <a:moveTo>
                    <a:pt x="327565" y="344329"/>
                  </a:moveTo>
                  <a:lnTo>
                    <a:pt x="293370" y="378524"/>
                  </a:lnTo>
                  <a:lnTo>
                    <a:pt x="259175" y="344329"/>
                  </a:lnTo>
                  <a:lnTo>
                    <a:pt x="232220" y="371285"/>
                  </a:lnTo>
                  <a:lnTo>
                    <a:pt x="266414" y="405479"/>
                  </a:lnTo>
                  <a:lnTo>
                    <a:pt x="232220" y="439674"/>
                  </a:lnTo>
                  <a:lnTo>
                    <a:pt x="259175" y="466630"/>
                  </a:lnTo>
                  <a:lnTo>
                    <a:pt x="293370" y="432435"/>
                  </a:lnTo>
                  <a:lnTo>
                    <a:pt x="327565" y="466630"/>
                  </a:lnTo>
                  <a:lnTo>
                    <a:pt x="354521" y="439674"/>
                  </a:lnTo>
                  <a:lnTo>
                    <a:pt x="320326" y="405479"/>
                  </a:lnTo>
                  <a:lnTo>
                    <a:pt x="354521" y="371285"/>
                  </a:lnTo>
                  <a:lnTo>
                    <a:pt x="327565" y="344329"/>
                  </a:lnTo>
                  <a:close/>
                </a:path>
              </a:pathLst>
            </a:custGeom>
            <a:solidFill>
              <a:srgbClr val="002856"/>
            </a:solidFill>
            <a:ln w="9525" cap="flat">
              <a:noFill/>
              <a:prstDash val="solid"/>
              <a:miter/>
            </a:ln>
          </p:spPr>
          <p:txBody>
            <a:bodyPr rtlCol="0" anchor="ctr"/>
            <a:lstStyle/>
            <a:p>
              <a:endParaRPr lang="en-US"/>
            </a:p>
          </p:txBody>
        </p:sp>
        <p:sp>
          <p:nvSpPr>
            <p:cNvPr id="24" name="Rectangle 23">
              <a:extLst>
                <a:ext uri="{FF2B5EF4-FFF2-40B4-BE49-F238E27FC236}">
                  <a16:creationId xmlns:a16="http://schemas.microsoft.com/office/drawing/2014/main" id="{67CE54D5-A38F-47E9-BED0-7A9D75323413}"/>
                </a:ext>
              </a:extLst>
            </p:cNvPr>
            <p:cNvSpPr/>
            <p:nvPr/>
          </p:nvSpPr>
          <p:spPr>
            <a:xfrm>
              <a:off x="8544018" y="2566784"/>
              <a:ext cx="1668167" cy="1927287"/>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cxnSp>
        <p:nvCxnSpPr>
          <p:cNvPr id="25" name="Connector: Elbow 24">
            <a:extLst>
              <a:ext uri="{FF2B5EF4-FFF2-40B4-BE49-F238E27FC236}">
                <a16:creationId xmlns:a16="http://schemas.microsoft.com/office/drawing/2014/main" id="{13AE6387-CEF9-4503-B64C-1692866650CA}"/>
              </a:ext>
            </a:extLst>
          </p:cNvPr>
          <p:cNvCxnSpPr>
            <a:cxnSpLocks/>
            <a:stCxn id="44" idx="3"/>
            <a:endCxn id="11" idx="1"/>
          </p:cNvCxnSpPr>
          <p:nvPr/>
        </p:nvCxnSpPr>
        <p:spPr>
          <a:xfrm>
            <a:off x="2350674" y="2142919"/>
            <a:ext cx="925755" cy="1335633"/>
          </a:xfrm>
          <a:prstGeom prst="bentConnector3">
            <a:avLst>
              <a:gd name="adj1" fmla="val 50000"/>
            </a:avLst>
          </a:prstGeom>
          <a:noFill/>
          <a:ln w="12700" cap="flat" cmpd="sng">
            <a:solidFill>
              <a:srgbClr val="6F7878"/>
            </a:solidFill>
            <a:prstDash val="solid"/>
            <a:round/>
            <a:headEnd type="none" w="lg" len="med"/>
            <a:tailEnd type="triangle" w="lg" len="lg"/>
          </a:ln>
        </p:spPr>
      </p:cxnSp>
      <p:cxnSp>
        <p:nvCxnSpPr>
          <p:cNvPr id="26" name="Connector: Elbow 25">
            <a:extLst>
              <a:ext uri="{FF2B5EF4-FFF2-40B4-BE49-F238E27FC236}">
                <a16:creationId xmlns:a16="http://schemas.microsoft.com/office/drawing/2014/main" id="{0726A8F5-6262-426C-8F27-82BE8D990DC2}"/>
              </a:ext>
            </a:extLst>
          </p:cNvPr>
          <p:cNvCxnSpPr>
            <a:cxnSpLocks/>
            <a:stCxn id="17" idx="3"/>
            <a:endCxn id="11" idx="1"/>
          </p:cNvCxnSpPr>
          <p:nvPr/>
        </p:nvCxnSpPr>
        <p:spPr>
          <a:xfrm flipV="1">
            <a:off x="2350674" y="3478552"/>
            <a:ext cx="925755" cy="1621689"/>
          </a:xfrm>
          <a:prstGeom prst="bentConnector3">
            <a:avLst>
              <a:gd name="adj1" fmla="val 50000"/>
            </a:avLst>
          </a:prstGeom>
          <a:noFill/>
          <a:ln w="12700" cap="flat" cmpd="sng">
            <a:solidFill>
              <a:srgbClr val="6F7878"/>
            </a:solidFill>
            <a:prstDash val="solid"/>
            <a:round/>
            <a:headEnd type="none" w="lg" len="med"/>
            <a:tailEnd type="triangle" w="lg" len="lg"/>
          </a:ln>
        </p:spPr>
      </p:cxnSp>
      <p:cxnSp>
        <p:nvCxnSpPr>
          <p:cNvPr id="27" name="Connector: Elbow 26">
            <a:extLst>
              <a:ext uri="{FF2B5EF4-FFF2-40B4-BE49-F238E27FC236}">
                <a16:creationId xmlns:a16="http://schemas.microsoft.com/office/drawing/2014/main" id="{56CBB964-E9D2-44D3-B03F-975917597300}"/>
              </a:ext>
            </a:extLst>
          </p:cNvPr>
          <p:cNvCxnSpPr>
            <a:cxnSpLocks/>
            <a:stCxn id="11" idx="3"/>
            <a:endCxn id="18" idx="1"/>
          </p:cNvCxnSpPr>
          <p:nvPr/>
        </p:nvCxnSpPr>
        <p:spPr>
          <a:xfrm flipV="1">
            <a:off x="4656720" y="2581672"/>
            <a:ext cx="925755" cy="896880"/>
          </a:xfrm>
          <a:prstGeom prst="bentConnector3">
            <a:avLst>
              <a:gd name="adj1" fmla="val 50000"/>
            </a:avLst>
          </a:prstGeom>
          <a:noFill/>
          <a:ln w="12700" cap="flat" cmpd="sng">
            <a:solidFill>
              <a:srgbClr val="6F7878"/>
            </a:solidFill>
            <a:prstDash val="solid"/>
            <a:round/>
            <a:headEnd type="none" w="lg" len="med"/>
            <a:tailEnd type="triangle" w="lg" len="lg"/>
          </a:ln>
        </p:spPr>
      </p:cxnSp>
      <p:cxnSp>
        <p:nvCxnSpPr>
          <p:cNvPr id="28" name="Connector: Elbow 27">
            <a:extLst>
              <a:ext uri="{FF2B5EF4-FFF2-40B4-BE49-F238E27FC236}">
                <a16:creationId xmlns:a16="http://schemas.microsoft.com/office/drawing/2014/main" id="{94B45242-56F1-466F-B6FC-E17DCFF58B30}"/>
              </a:ext>
            </a:extLst>
          </p:cNvPr>
          <p:cNvCxnSpPr>
            <a:cxnSpLocks/>
            <a:stCxn id="11" idx="3"/>
            <a:endCxn id="19" idx="1"/>
          </p:cNvCxnSpPr>
          <p:nvPr/>
        </p:nvCxnSpPr>
        <p:spPr>
          <a:xfrm>
            <a:off x="4656720" y="3478552"/>
            <a:ext cx="925754" cy="1334105"/>
          </a:xfrm>
          <a:prstGeom prst="bentConnector3">
            <a:avLst>
              <a:gd name="adj1" fmla="val 50000"/>
            </a:avLst>
          </a:prstGeom>
          <a:noFill/>
          <a:ln w="12700" cap="flat" cmpd="sng">
            <a:solidFill>
              <a:srgbClr val="6F7878"/>
            </a:solidFill>
            <a:prstDash val="solid"/>
            <a:round/>
            <a:headEnd type="none" w="lg" len="med"/>
            <a:tailEnd type="triangle" w="lg" len="lg"/>
          </a:ln>
        </p:spPr>
      </p:cxnSp>
      <p:cxnSp>
        <p:nvCxnSpPr>
          <p:cNvPr id="29" name="Connector: Elbow 28">
            <a:extLst>
              <a:ext uri="{FF2B5EF4-FFF2-40B4-BE49-F238E27FC236}">
                <a16:creationId xmlns:a16="http://schemas.microsoft.com/office/drawing/2014/main" id="{F3D4AC83-A32E-42E3-A353-5D37BE56BA18}"/>
              </a:ext>
            </a:extLst>
          </p:cNvPr>
          <p:cNvCxnSpPr>
            <a:cxnSpLocks/>
            <a:stCxn id="18" idx="3"/>
            <a:endCxn id="24" idx="1"/>
          </p:cNvCxnSpPr>
          <p:nvPr/>
        </p:nvCxnSpPr>
        <p:spPr>
          <a:xfrm>
            <a:off x="7535282" y="2581672"/>
            <a:ext cx="1629630" cy="857966"/>
          </a:xfrm>
          <a:prstGeom prst="bentConnector3">
            <a:avLst>
              <a:gd name="adj1" fmla="val 50000"/>
            </a:avLst>
          </a:prstGeom>
          <a:noFill/>
          <a:ln w="12700" cap="flat" cmpd="sng">
            <a:solidFill>
              <a:srgbClr val="6F7878"/>
            </a:solidFill>
            <a:prstDash val="solid"/>
            <a:round/>
            <a:headEnd type="none" w="lg" len="med"/>
            <a:tailEnd type="triangle" w="lg" len="lg"/>
          </a:ln>
        </p:spPr>
      </p:cxnSp>
      <p:cxnSp>
        <p:nvCxnSpPr>
          <p:cNvPr id="30" name="Connector: Elbow 29">
            <a:extLst>
              <a:ext uri="{FF2B5EF4-FFF2-40B4-BE49-F238E27FC236}">
                <a16:creationId xmlns:a16="http://schemas.microsoft.com/office/drawing/2014/main" id="{F1D54C48-4460-4274-8EF7-2611C90CE2D2}"/>
              </a:ext>
            </a:extLst>
          </p:cNvPr>
          <p:cNvCxnSpPr>
            <a:cxnSpLocks/>
            <a:stCxn id="19" idx="3"/>
            <a:endCxn id="24" idx="2"/>
          </p:cNvCxnSpPr>
          <p:nvPr/>
        </p:nvCxnSpPr>
        <p:spPr>
          <a:xfrm flipV="1">
            <a:off x="7535282" y="4403281"/>
            <a:ext cx="2463714" cy="409376"/>
          </a:xfrm>
          <a:prstGeom prst="bentConnector2">
            <a:avLst/>
          </a:prstGeom>
          <a:noFill/>
          <a:ln w="12700" cap="flat" cmpd="sng">
            <a:solidFill>
              <a:srgbClr val="6F7878"/>
            </a:solidFill>
            <a:prstDash val="dash"/>
            <a:round/>
            <a:headEnd type="none" w="lg" len="med"/>
            <a:tailEnd type="triangle" w="lg" len="lg"/>
          </a:ln>
        </p:spPr>
      </p:cxnSp>
      <p:sp>
        <p:nvSpPr>
          <p:cNvPr id="31" name="Graphic 11">
            <a:extLst>
              <a:ext uri="{FF2B5EF4-FFF2-40B4-BE49-F238E27FC236}">
                <a16:creationId xmlns:a16="http://schemas.microsoft.com/office/drawing/2014/main" id="{D5D06233-4B7E-41EE-B8D6-E0641255913D}"/>
              </a:ext>
            </a:extLst>
          </p:cNvPr>
          <p:cNvSpPr>
            <a:spLocks noChangeAspect="1"/>
          </p:cNvSpPr>
          <p:nvPr/>
        </p:nvSpPr>
        <p:spPr bwMode="gray">
          <a:xfrm>
            <a:off x="6328453" y="1795766"/>
            <a:ext cx="449791" cy="447675"/>
          </a:xfrm>
          <a:custGeom>
            <a:avLst/>
            <a:gdLst>
              <a:gd name="connsiteX0" fmla="*/ 410432 w 438150"/>
              <a:gd name="connsiteY0" fmla="*/ 196310 h 447675"/>
              <a:gd name="connsiteX1" fmla="*/ 375666 w 438150"/>
              <a:gd name="connsiteY1" fmla="*/ 222123 h 447675"/>
              <a:gd name="connsiteX2" fmla="*/ 266033 w 438150"/>
              <a:gd name="connsiteY2" fmla="*/ 241649 h 447675"/>
              <a:gd name="connsiteX3" fmla="*/ 242602 w 438150"/>
              <a:gd name="connsiteY3" fmla="*/ 207550 h 447675"/>
              <a:gd name="connsiteX4" fmla="*/ 300038 w 438150"/>
              <a:gd name="connsiteY4" fmla="*/ 100965 h 447675"/>
              <a:gd name="connsiteX5" fmla="*/ 308134 w 438150"/>
              <a:gd name="connsiteY5" fmla="*/ 101822 h 447675"/>
              <a:gd name="connsiteX6" fmla="*/ 359093 w 438150"/>
              <a:gd name="connsiteY6" fmla="*/ 50864 h 447675"/>
              <a:gd name="connsiteX7" fmla="*/ 308134 w 438150"/>
              <a:gd name="connsiteY7" fmla="*/ 0 h 447675"/>
              <a:gd name="connsiteX8" fmla="*/ 257175 w 438150"/>
              <a:gd name="connsiteY8" fmla="*/ 50864 h 447675"/>
              <a:gd name="connsiteX9" fmla="*/ 270701 w 438150"/>
              <a:gd name="connsiteY9" fmla="*/ 85153 h 447675"/>
              <a:gd name="connsiteX10" fmla="*/ 213551 w 438150"/>
              <a:gd name="connsiteY10" fmla="*/ 191167 h 447675"/>
              <a:gd name="connsiteX11" fmla="*/ 188976 w 438150"/>
              <a:gd name="connsiteY11" fmla="*/ 187357 h 447675"/>
              <a:gd name="connsiteX12" fmla="*/ 138113 w 438150"/>
              <a:gd name="connsiteY12" fmla="*/ 205073 h 447675"/>
              <a:gd name="connsiteX13" fmla="*/ 82296 w 438150"/>
              <a:gd name="connsiteY13" fmla="*/ 149257 h 447675"/>
              <a:gd name="connsiteX14" fmla="*/ 85249 w 438150"/>
              <a:gd name="connsiteY14" fmla="*/ 133922 h 447675"/>
              <a:gd name="connsiteX15" fmla="*/ 43339 w 438150"/>
              <a:gd name="connsiteY15" fmla="*/ 92012 h 447675"/>
              <a:gd name="connsiteX16" fmla="*/ 1429 w 438150"/>
              <a:gd name="connsiteY16" fmla="*/ 133922 h 447675"/>
              <a:gd name="connsiteX17" fmla="*/ 43339 w 438150"/>
              <a:gd name="connsiteY17" fmla="*/ 175831 h 447675"/>
              <a:gd name="connsiteX18" fmla="*/ 58674 w 438150"/>
              <a:gd name="connsiteY18" fmla="*/ 172879 h 447675"/>
              <a:gd name="connsiteX19" fmla="*/ 116491 w 438150"/>
              <a:gd name="connsiteY19" fmla="*/ 230696 h 447675"/>
              <a:gd name="connsiteX20" fmla="*/ 106775 w 438150"/>
              <a:gd name="connsiteY20" fmla="*/ 269367 h 447675"/>
              <a:gd name="connsiteX21" fmla="*/ 106775 w 438150"/>
              <a:gd name="connsiteY21" fmla="*/ 269748 h 447675"/>
              <a:gd name="connsiteX22" fmla="*/ 65627 w 438150"/>
              <a:gd name="connsiteY22" fmla="*/ 277178 h 447675"/>
              <a:gd name="connsiteX23" fmla="*/ 36671 w 438150"/>
              <a:gd name="connsiteY23" fmla="*/ 262700 h 447675"/>
              <a:gd name="connsiteX24" fmla="*/ 0 w 438150"/>
              <a:gd name="connsiteY24" fmla="*/ 299276 h 447675"/>
              <a:gd name="connsiteX25" fmla="*/ 36576 w 438150"/>
              <a:gd name="connsiteY25" fmla="*/ 335851 h 447675"/>
              <a:gd name="connsiteX26" fmla="*/ 71342 w 438150"/>
              <a:gd name="connsiteY26" fmla="*/ 310039 h 447675"/>
              <a:gd name="connsiteX27" fmla="*/ 113824 w 438150"/>
              <a:gd name="connsiteY27" fmla="*/ 302514 h 447675"/>
              <a:gd name="connsiteX28" fmla="*/ 136970 w 438150"/>
              <a:gd name="connsiteY28" fmla="*/ 332994 h 447675"/>
              <a:gd name="connsiteX29" fmla="*/ 113728 w 438150"/>
              <a:gd name="connsiteY29" fmla="*/ 376142 h 447675"/>
              <a:gd name="connsiteX30" fmla="*/ 112967 w 438150"/>
              <a:gd name="connsiteY30" fmla="*/ 376047 h 447675"/>
              <a:gd name="connsiteX31" fmla="*/ 76391 w 438150"/>
              <a:gd name="connsiteY31" fmla="*/ 412623 h 447675"/>
              <a:gd name="connsiteX32" fmla="*/ 112967 w 438150"/>
              <a:gd name="connsiteY32" fmla="*/ 449199 h 447675"/>
              <a:gd name="connsiteX33" fmla="*/ 149543 w 438150"/>
              <a:gd name="connsiteY33" fmla="*/ 412623 h 447675"/>
              <a:gd name="connsiteX34" fmla="*/ 143066 w 438150"/>
              <a:gd name="connsiteY34" fmla="*/ 391954 h 447675"/>
              <a:gd name="connsiteX35" fmla="*/ 166497 w 438150"/>
              <a:gd name="connsiteY35" fmla="*/ 348425 h 447675"/>
              <a:gd name="connsiteX36" fmla="*/ 188786 w 438150"/>
              <a:gd name="connsiteY36" fmla="*/ 351568 h 447675"/>
              <a:gd name="connsiteX37" fmla="*/ 227457 w 438150"/>
              <a:gd name="connsiteY37" fmla="*/ 341852 h 447675"/>
              <a:gd name="connsiteX38" fmla="*/ 257651 w 438150"/>
              <a:gd name="connsiteY38" fmla="*/ 372047 h 447675"/>
              <a:gd name="connsiteX39" fmla="*/ 255746 w 438150"/>
              <a:gd name="connsiteY39" fmla="*/ 383191 h 447675"/>
              <a:gd name="connsiteX40" fmla="*/ 292322 w 438150"/>
              <a:gd name="connsiteY40" fmla="*/ 419767 h 447675"/>
              <a:gd name="connsiteX41" fmla="*/ 328898 w 438150"/>
              <a:gd name="connsiteY41" fmla="*/ 383191 h 447675"/>
              <a:gd name="connsiteX42" fmla="*/ 292322 w 438150"/>
              <a:gd name="connsiteY42" fmla="*/ 346615 h 447675"/>
              <a:gd name="connsiteX43" fmla="*/ 281178 w 438150"/>
              <a:gd name="connsiteY43" fmla="*/ 348520 h 447675"/>
              <a:gd name="connsiteX44" fmla="*/ 253079 w 438150"/>
              <a:gd name="connsiteY44" fmla="*/ 320421 h 447675"/>
              <a:gd name="connsiteX45" fmla="*/ 270605 w 438150"/>
              <a:gd name="connsiteY45" fmla="*/ 274796 h 447675"/>
              <a:gd name="connsiteX46" fmla="*/ 381286 w 438150"/>
              <a:gd name="connsiteY46" fmla="*/ 255080 h 447675"/>
              <a:gd name="connsiteX47" fmla="*/ 410242 w 438150"/>
              <a:gd name="connsiteY47" fmla="*/ 269558 h 447675"/>
              <a:gd name="connsiteX48" fmla="*/ 446818 w 438150"/>
              <a:gd name="connsiteY48" fmla="*/ 232981 h 447675"/>
              <a:gd name="connsiteX49" fmla="*/ 410432 w 438150"/>
              <a:gd name="connsiteY49" fmla="*/ 196310 h 447675"/>
              <a:gd name="connsiteX50" fmla="*/ 145256 w 438150"/>
              <a:gd name="connsiteY50" fmla="*/ 269462 h 447675"/>
              <a:gd name="connsiteX51" fmla="*/ 188881 w 438150"/>
              <a:gd name="connsiteY51" fmla="*/ 225838 h 447675"/>
              <a:gd name="connsiteX52" fmla="*/ 232505 w 438150"/>
              <a:gd name="connsiteY52" fmla="*/ 269462 h 447675"/>
              <a:gd name="connsiteX53" fmla="*/ 188881 w 438150"/>
              <a:gd name="connsiteY53" fmla="*/ 313087 h 447675"/>
              <a:gd name="connsiteX54" fmla="*/ 145256 w 438150"/>
              <a:gd name="connsiteY54" fmla="*/ 26946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38150" h="447675">
                <a:moveTo>
                  <a:pt x="410432" y="196310"/>
                </a:moveTo>
                <a:cubicBezTo>
                  <a:pt x="393954" y="196310"/>
                  <a:pt x="380238" y="207264"/>
                  <a:pt x="375666" y="222123"/>
                </a:cubicBezTo>
                <a:lnTo>
                  <a:pt x="266033" y="241649"/>
                </a:lnTo>
                <a:cubicBezTo>
                  <a:pt x="261176" y="228314"/>
                  <a:pt x="253079" y="216599"/>
                  <a:pt x="242602" y="207550"/>
                </a:cubicBezTo>
                <a:lnTo>
                  <a:pt x="300038" y="100965"/>
                </a:lnTo>
                <a:cubicBezTo>
                  <a:pt x="302705" y="101441"/>
                  <a:pt x="305372" y="101822"/>
                  <a:pt x="308134" y="101822"/>
                </a:cubicBezTo>
                <a:cubicBezTo>
                  <a:pt x="336233" y="101822"/>
                  <a:pt x="359093" y="79058"/>
                  <a:pt x="359093" y="50864"/>
                </a:cubicBezTo>
                <a:cubicBezTo>
                  <a:pt x="359093" y="22670"/>
                  <a:pt x="336233" y="0"/>
                  <a:pt x="308134" y="0"/>
                </a:cubicBezTo>
                <a:cubicBezTo>
                  <a:pt x="279940" y="0"/>
                  <a:pt x="257175" y="22765"/>
                  <a:pt x="257175" y="50864"/>
                </a:cubicBezTo>
                <a:cubicBezTo>
                  <a:pt x="257175" y="64103"/>
                  <a:pt x="262319" y="76105"/>
                  <a:pt x="270701" y="85153"/>
                </a:cubicBezTo>
                <a:lnTo>
                  <a:pt x="213551" y="191167"/>
                </a:lnTo>
                <a:cubicBezTo>
                  <a:pt x="205835" y="188690"/>
                  <a:pt x="197549" y="187357"/>
                  <a:pt x="188976" y="187357"/>
                </a:cubicBezTo>
                <a:cubicBezTo>
                  <a:pt x="169736" y="187357"/>
                  <a:pt x="152114" y="194024"/>
                  <a:pt x="138113" y="205073"/>
                </a:cubicBezTo>
                <a:lnTo>
                  <a:pt x="82296" y="149257"/>
                </a:lnTo>
                <a:cubicBezTo>
                  <a:pt x="84201" y="144494"/>
                  <a:pt x="85249" y="139351"/>
                  <a:pt x="85249" y="133922"/>
                </a:cubicBezTo>
                <a:cubicBezTo>
                  <a:pt x="85249" y="110776"/>
                  <a:pt x="66485" y="92012"/>
                  <a:pt x="43339" y="92012"/>
                </a:cubicBezTo>
                <a:cubicBezTo>
                  <a:pt x="20193" y="92012"/>
                  <a:pt x="1429" y="110776"/>
                  <a:pt x="1429" y="133922"/>
                </a:cubicBezTo>
                <a:cubicBezTo>
                  <a:pt x="1429" y="157067"/>
                  <a:pt x="20193" y="175831"/>
                  <a:pt x="43339" y="175831"/>
                </a:cubicBezTo>
                <a:cubicBezTo>
                  <a:pt x="48768" y="175831"/>
                  <a:pt x="53912" y="174689"/>
                  <a:pt x="58674" y="172879"/>
                </a:cubicBezTo>
                <a:lnTo>
                  <a:pt x="116491" y="230696"/>
                </a:lnTo>
                <a:cubicBezTo>
                  <a:pt x="110300" y="242221"/>
                  <a:pt x="106775" y="255365"/>
                  <a:pt x="106775" y="269367"/>
                </a:cubicBezTo>
                <a:cubicBezTo>
                  <a:pt x="106775" y="269462"/>
                  <a:pt x="106775" y="269653"/>
                  <a:pt x="106775" y="269748"/>
                </a:cubicBezTo>
                <a:lnTo>
                  <a:pt x="65627" y="277178"/>
                </a:lnTo>
                <a:cubicBezTo>
                  <a:pt x="58960" y="268415"/>
                  <a:pt x="48482" y="262700"/>
                  <a:pt x="36671" y="262700"/>
                </a:cubicBezTo>
                <a:cubicBezTo>
                  <a:pt x="16383" y="262700"/>
                  <a:pt x="0" y="279083"/>
                  <a:pt x="0" y="299276"/>
                </a:cubicBezTo>
                <a:cubicBezTo>
                  <a:pt x="0" y="319469"/>
                  <a:pt x="16383" y="335851"/>
                  <a:pt x="36576" y="335851"/>
                </a:cubicBezTo>
                <a:cubicBezTo>
                  <a:pt x="53054" y="335851"/>
                  <a:pt x="66770" y="324898"/>
                  <a:pt x="71342" y="310039"/>
                </a:cubicBezTo>
                <a:lnTo>
                  <a:pt x="113824" y="302514"/>
                </a:lnTo>
                <a:cubicBezTo>
                  <a:pt x="119063" y="314420"/>
                  <a:pt x="127064" y="324803"/>
                  <a:pt x="136970" y="332994"/>
                </a:cubicBezTo>
                <a:lnTo>
                  <a:pt x="113728" y="376142"/>
                </a:lnTo>
                <a:cubicBezTo>
                  <a:pt x="113443" y="376142"/>
                  <a:pt x="113252" y="376047"/>
                  <a:pt x="112967" y="376047"/>
                </a:cubicBezTo>
                <a:cubicBezTo>
                  <a:pt x="92774" y="376047"/>
                  <a:pt x="76391" y="392430"/>
                  <a:pt x="76391" y="412623"/>
                </a:cubicBezTo>
                <a:cubicBezTo>
                  <a:pt x="76391" y="432816"/>
                  <a:pt x="92774" y="449199"/>
                  <a:pt x="112967" y="449199"/>
                </a:cubicBezTo>
                <a:cubicBezTo>
                  <a:pt x="133160" y="449199"/>
                  <a:pt x="149543" y="432816"/>
                  <a:pt x="149543" y="412623"/>
                </a:cubicBezTo>
                <a:cubicBezTo>
                  <a:pt x="149543" y="404908"/>
                  <a:pt x="147161" y="397764"/>
                  <a:pt x="143066" y="391954"/>
                </a:cubicBezTo>
                <a:lnTo>
                  <a:pt x="166497" y="348425"/>
                </a:lnTo>
                <a:cubicBezTo>
                  <a:pt x="173641" y="350425"/>
                  <a:pt x="181070" y="351568"/>
                  <a:pt x="188786" y="351568"/>
                </a:cubicBezTo>
                <a:cubicBezTo>
                  <a:pt x="202787" y="351568"/>
                  <a:pt x="215932" y="348044"/>
                  <a:pt x="227457" y="341852"/>
                </a:cubicBezTo>
                <a:lnTo>
                  <a:pt x="257651" y="372047"/>
                </a:lnTo>
                <a:cubicBezTo>
                  <a:pt x="256508" y="375571"/>
                  <a:pt x="255746" y="379286"/>
                  <a:pt x="255746" y="383191"/>
                </a:cubicBezTo>
                <a:cubicBezTo>
                  <a:pt x="255746" y="403384"/>
                  <a:pt x="272129" y="419767"/>
                  <a:pt x="292322" y="419767"/>
                </a:cubicBezTo>
                <a:cubicBezTo>
                  <a:pt x="312515" y="419767"/>
                  <a:pt x="328898" y="403384"/>
                  <a:pt x="328898" y="383191"/>
                </a:cubicBezTo>
                <a:cubicBezTo>
                  <a:pt x="328898" y="362998"/>
                  <a:pt x="312515" y="346615"/>
                  <a:pt x="292322" y="346615"/>
                </a:cubicBezTo>
                <a:cubicBezTo>
                  <a:pt x="288417" y="346615"/>
                  <a:pt x="284702" y="347377"/>
                  <a:pt x="281178" y="348520"/>
                </a:cubicBezTo>
                <a:lnTo>
                  <a:pt x="253079" y="320421"/>
                </a:lnTo>
                <a:cubicBezTo>
                  <a:pt x="263176" y="307658"/>
                  <a:pt x="269462" y="291941"/>
                  <a:pt x="270605" y="274796"/>
                </a:cubicBezTo>
                <a:lnTo>
                  <a:pt x="381286" y="255080"/>
                </a:lnTo>
                <a:cubicBezTo>
                  <a:pt x="387953" y="263843"/>
                  <a:pt x="398431" y="269558"/>
                  <a:pt x="410242" y="269558"/>
                </a:cubicBezTo>
                <a:cubicBezTo>
                  <a:pt x="430435" y="269558"/>
                  <a:pt x="446818" y="253175"/>
                  <a:pt x="446818" y="232981"/>
                </a:cubicBezTo>
                <a:cubicBezTo>
                  <a:pt x="446818" y="212789"/>
                  <a:pt x="430625" y="196310"/>
                  <a:pt x="410432" y="196310"/>
                </a:cubicBezTo>
                <a:close/>
                <a:moveTo>
                  <a:pt x="145256" y="269462"/>
                </a:moveTo>
                <a:cubicBezTo>
                  <a:pt x="145256" y="245364"/>
                  <a:pt x="164878" y="225838"/>
                  <a:pt x="188881" y="225838"/>
                </a:cubicBezTo>
                <a:cubicBezTo>
                  <a:pt x="212884" y="225838"/>
                  <a:pt x="232505" y="245459"/>
                  <a:pt x="232505" y="269462"/>
                </a:cubicBezTo>
                <a:cubicBezTo>
                  <a:pt x="232505" y="293561"/>
                  <a:pt x="212884" y="313087"/>
                  <a:pt x="188881" y="313087"/>
                </a:cubicBezTo>
                <a:cubicBezTo>
                  <a:pt x="164878" y="313087"/>
                  <a:pt x="145256" y="293561"/>
                  <a:pt x="145256" y="269462"/>
                </a:cubicBezTo>
                <a:close/>
              </a:path>
            </a:pathLst>
          </a:custGeom>
          <a:solidFill>
            <a:srgbClr val="002856"/>
          </a:solidFill>
          <a:ln w="9525" cap="flat">
            <a:noFill/>
            <a:prstDash val="solid"/>
            <a:miter/>
          </a:ln>
        </p:spPr>
        <p:txBody>
          <a:bodyPr rtlCol="0" anchor="ctr"/>
          <a:lstStyle/>
          <a:p>
            <a:endParaRPr lang="en-GB"/>
          </a:p>
        </p:txBody>
      </p:sp>
      <p:sp>
        <p:nvSpPr>
          <p:cNvPr id="32" name="Graphic 119">
            <a:extLst>
              <a:ext uri="{FF2B5EF4-FFF2-40B4-BE49-F238E27FC236}">
                <a16:creationId xmlns:a16="http://schemas.microsoft.com/office/drawing/2014/main" id="{7E1ECCD3-A4D1-4821-9A73-58B361087380}"/>
              </a:ext>
            </a:extLst>
          </p:cNvPr>
          <p:cNvSpPr>
            <a:spLocks noChangeAspect="1"/>
          </p:cNvSpPr>
          <p:nvPr/>
        </p:nvSpPr>
        <p:spPr bwMode="gray">
          <a:xfrm>
            <a:off x="6362849" y="3950366"/>
            <a:ext cx="381000" cy="514350"/>
          </a:xfrm>
          <a:custGeom>
            <a:avLst/>
            <a:gdLst>
              <a:gd name="connsiteX0" fmla="*/ 159544 w 381000"/>
              <a:gd name="connsiteY0" fmla="*/ 75533 h 514350"/>
              <a:gd name="connsiteX1" fmla="*/ 126206 w 381000"/>
              <a:gd name="connsiteY1" fmla="*/ 75533 h 514350"/>
              <a:gd name="connsiteX2" fmla="*/ 126206 w 381000"/>
              <a:gd name="connsiteY2" fmla="*/ 0 h 514350"/>
              <a:gd name="connsiteX3" fmla="*/ 159544 w 381000"/>
              <a:gd name="connsiteY3" fmla="*/ 0 h 514350"/>
              <a:gd name="connsiteX4" fmla="*/ 159544 w 381000"/>
              <a:gd name="connsiteY4" fmla="*/ 75533 h 514350"/>
              <a:gd name="connsiteX5" fmla="*/ 90202 w 381000"/>
              <a:gd name="connsiteY5" fmla="*/ 88202 h 514350"/>
              <a:gd name="connsiteX6" fmla="*/ 57722 w 381000"/>
              <a:gd name="connsiteY6" fmla="*/ 20003 h 514350"/>
              <a:gd name="connsiteX7" fmla="*/ 27623 w 381000"/>
              <a:gd name="connsiteY7" fmla="*/ 34290 h 514350"/>
              <a:gd name="connsiteX8" fmla="*/ 60103 w 381000"/>
              <a:gd name="connsiteY8" fmla="*/ 102489 h 514350"/>
              <a:gd name="connsiteX9" fmla="*/ 90202 w 381000"/>
              <a:gd name="connsiteY9" fmla="*/ 88202 h 514350"/>
              <a:gd name="connsiteX10" fmla="*/ 258128 w 381000"/>
              <a:gd name="connsiteY10" fmla="*/ 34385 h 514350"/>
              <a:gd name="connsiteX11" fmla="*/ 228029 w 381000"/>
              <a:gd name="connsiteY11" fmla="*/ 20003 h 514350"/>
              <a:gd name="connsiteX12" fmla="*/ 195548 w 381000"/>
              <a:gd name="connsiteY12" fmla="*/ 88202 h 514350"/>
              <a:gd name="connsiteX13" fmla="*/ 225647 w 381000"/>
              <a:gd name="connsiteY13" fmla="*/ 102584 h 514350"/>
              <a:gd name="connsiteX14" fmla="*/ 258128 w 381000"/>
              <a:gd name="connsiteY14" fmla="*/ 34385 h 514350"/>
              <a:gd name="connsiteX15" fmla="*/ 95250 w 381000"/>
              <a:gd name="connsiteY15" fmla="*/ 520160 h 514350"/>
              <a:gd name="connsiteX16" fmla="*/ 190500 w 381000"/>
              <a:gd name="connsiteY16" fmla="*/ 520160 h 514350"/>
              <a:gd name="connsiteX17" fmla="*/ 190500 w 381000"/>
              <a:gd name="connsiteY17" fmla="*/ 486823 h 514350"/>
              <a:gd name="connsiteX18" fmla="*/ 95250 w 381000"/>
              <a:gd name="connsiteY18" fmla="*/ 486823 h 514350"/>
              <a:gd name="connsiteX19" fmla="*/ 95250 w 381000"/>
              <a:gd name="connsiteY19" fmla="*/ 520160 h 514350"/>
              <a:gd name="connsiteX20" fmla="*/ 313849 w 381000"/>
              <a:gd name="connsiteY20" fmla="*/ 353854 h 514350"/>
              <a:gd name="connsiteX21" fmla="*/ 263652 w 381000"/>
              <a:gd name="connsiteY21" fmla="*/ 413671 h 514350"/>
              <a:gd name="connsiteX22" fmla="*/ 233744 w 381000"/>
              <a:gd name="connsiteY22" fmla="*/ 388525 h 514350"/>
              <a:gd name="connsiteX23" fmla="*/ 215360 w 381000"/>
              <a:gd name="connsiteY23" fmla="*/ 410432 h 514350"/>
              <a:gd name="connsiteX24" fmla="*/ 267176 w 381000"/>
              <a:gd name="connsiteY24" fmla="*/ 453866 h 514350"/>
              <a:gd name="connsiteX25" fmla="*/ 335756 w 381000"/>
              <a:gd name="connsiteY25" fmla="*/ 372142 h 514350"/>
              <a:gd name="connsiteX26" fmla="*/ 313849 w 381000"/>
              <a:gd name="connsiteY26" fmla="*/ 353854 h 514350"/>
              <a:gd name="connsiteX27" fmla="*/ 384143 w 381000"/>
              <a:gd name="connsiteY27" fmla="*/ 401288 h 514350"/>
              <a:gd name="connsiteX28" fmla="*/ 279368 w 381000"/>
              <a:gd name="connsiteY28" fmla="*/ 506063 h 514350"/>
              <a:gd name="connsiteX29" fmla="*/ 195072 w 381000"/>
              <a:gd name="connsiteY29" fmla="*/ 463201 h 514350"/>
              <a:gd name="connsiteX30" fmla="*/ 65627 w 381000"/>
              <a:gd name="connsiteY30" fmla="*/ 463201 h 514350"/>
              <a:gd name="connsiteX31" fmla="*/ 65627 w 381000"/>
              <a:gd name="connsiteY31" fmla="*/ 384905 h 514350"/>
              <a:gd name="connsiteX32" fmla="*/ 0 w 381000"/>
              <a:gd name="connsiteY32" fmla="*/ 264700 h 514350"/>
              <a:gd name="connsiteX33" fmla="*/ 142875 w 381000"/>
              <a:gd name="connsiteY33" fmla="*/ 121825 h 514350"/>
              <a:gd name="connsiteX34" fmla="*/ 285750 w 381000"/>
              <a:gd name="connsiteY34" fmla="*/ 264700 h 514350"/>
              <a:gd name="connsiteX35" fmla="*/ 280988 w 381000"/>
              <a:gd name="connsiteY35" fmla="*/ 296513 h 514350"/>
              <a:gd name="connsiteX36" fmla="*/ 384143 w 381000"/>
              <a:gd name="connsiteY36" fmla="*/ 401288 h 514350"/>
              <a:gd name="connsiteX37" fmla="*/ 178975 w 381000"/>
              <a:gd name="connsiteY37" fmla="*/ 431387 h 514350"/>
              <a:gd name="connsiteX38" fmla="*/ 174498 w 381000"/>
              <a:gd name="connsiteY38" fmla="*/ 401193 h 514350"/>
              <a:gd name="connsiteX39" fmla="*/ 247555 w 381000"/>
              <a:gd name="connsiteY39" fmla="*/ 301371 h 514350"/>
              <a:gd name="connsiteX40" fmla="*/ 253937 w 381000"/>
              <a:gd name="connsiteY40" fmla="*/ 264700 h 514350"/>
              <a:gd name="connsiteX41" fmla="*/ 142780 w 381000"/>
              <a:gd name="connsiteY41" fmla="*/ 153543 h 514350"/>
              <a:gd name="connsiteX42" fmla="*/ 31623 w 381000"/>
              <a:gd name="connsiteY42" fmla="*/ 264700 h 514350"/>
              <a:gd name="connsiteX43" fmla="*/ 82677 w 381000"/>
              <a:gd name="connsiteY43" fmla="*/ 358140 h 514350"/>
              <a:gd name="connsiteX44" fmla="*/ 97250 w 381000"/>
              <a:gd name="connsiteY44" fmla="*/ 367475 h 514350"/>
              <a:gd name="connsiteX45" fmla="*/ 97250 w 381000"/>
              <a:gd name="connsiteY45" fmla="*/ 384810 h 514350"/>
              <a:gd name="connsiteX46" fmla="*/ 97250 w 381000"/>
              <a:gd name="connsiteY46" fmla="*/ 431292 h 514350"/>
              <a:gd name="connsiteX47" fmla="*/ 178975 w 381000"/>
              <a:gd name="connsiteY47" fmla="*/ 431292 h 514350"/>
              <a:gd name="connsiteX48" fmla="*/ 355568 w 381000"/>
              <a:gd name="connsiteY48" fmla="*/ 401288 h 514350"/>
              <a:gd name="connsiteX49" fmla="*/ 279368 w 381000"/>
              <a:gd name="connsiteY49" fmla="*/ 325088 h 514350"/>
              <a:gd name="connsiteX50" fmla="*/ 203168 w 381000"/>
              <a:gd name="connsiteY50" fmla="*/ 401288 h 514350"/>
              <a:gd name="connsiteX51" fmla="*/ 279368 w 381000"/>
              <a:gd name="connsiteY51" fmla="*/ 477488 h 514350"/>
              <a:gd name="connsiteX52" fmla="*/ 355568 w 381000"/>
              <a:gd name="connsiteY52" fmla="*/ 40128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81000" h="514350">
                <a:moveTo>
                  <a:pt x="159544" y="75533"/>
                </a:moveTo>
                <a:lnTo>
                  <a:pt x="126206" y="75533"/>
                </a:lnTo>
                <a:lnTo>
                  <a:pt x="126206" y="0"/>
                </a:lnTo>
                <a:lnTo>
                  <a:pt x="159544" y="0"/>
                </a:lnTo>
                <a:lnTo>
                  <a:pt x="159544" y="75533"/>
                </a:lnTo>
                <a:close/>
                <a:moveTo>
                  <a:pt x="90202" y="88202"/>
                </a:moveTo>
                <a:lnTo>
                  <a:pt x="57722" y="20003"/>
                </a:lnTo>
                <a:lnTo>
                  <a:pt x="27623" y="34290"/>
                </a:lnTo>
                <a:lnTo>
                  <a:pt x="60103" y="102489"/>
                </a:lnTo>
                <a:lnTo>
                  <a:pt x="90202" y="88202"/>
                </a:lnTo>
                <a:close/>
                <a:moveTo>
                  <a:pt x="258128" y="34385"/>
                </a:moveTo>
                <a:lnTo>
                  <a:pt x="228029" y="20003"/>
                </a:lnTo>
                <a:lnTo>
                  <a:pt x="195548" y="88202"/>
                </a:lnTo>
                <a:lnTo>
                  <a:pt x="225647" y="102584"/>
                </a:lnTo>
                <a:lnTo>
                  <a:pt x="258128" y="34385"/>
                </a:lnTo>
                <a:close/>
                <a:moveTo>
                  <a:pt x="95250" y="520160"/>
                </a:moveTo>
                <a:lnTo>
                  <a:pt x="190500" y="520160"/>
                </a:lnTo>
                <a:lnTo>
                  <a:pt x="190500" y="486823"/>
                </a:lnTo>
                <a:lnTo>
                  <a:pt x="95250" y="486823"/>
                </a:lnTo>
                <a:cubicBezTo>
                  <a:pt x="95250" y="486823"/>
                  <a:pt x="95250" y="520160"/>
                  <a:pt x="95250" y="520160"/>
                </a:cubicBezTo>
                <a:close/>
                <a:moveTo>
                  <a:pt x="313849" y="353854"/>
                </a:moveTo>
                <a:lnTo>
                  <a:pt x="263652" y="413671"/>
                </a:lnTo>
                <a:lnTo>
                  <a:pt x="233744" y="388525"/>
                </a:lnTo>
                <a:lnTo>
                  <a:pt x="215360" y="410432"/>
                </a:lnTo>
                <a:lnTo>
                  <a:pt x="267176" y="453866"/>
                </a:lnTo>
                <a:lnTo>
                  <a:pt x="335756" y="372142"/>
                </a:lnTo>
                <a:lnTo>
                  <a:pt x="313849" y="353854"/>
                </a:lnTo>
                <a:close/>
                <a:moveTo>
                  <a:pt x="384143" y="401288"/>
                </a:moveTo>
                <a:cubicBezTo>
                  <a:pt x="384143" y="459010"/>
                  <a:pt x="337090" y="506063"/>
                  <a:pt x="279368" y="506063"/>
                </a:cubicBezTo>
                <a:cubicBezTo>
                  <a:pt x="244793" y="506063"/>
                  <a:pt x="214122" y="489109"/>
                  <a:pt x="195072" y="463201"/>
                </a:cubicBezTo>
                <a:lnTo>
                  <a:pt x="65627" y="463201"/>
                </a:lnTo>
                <a:lnTo>
                  <a:pt x="65627" y="384905"/>
                </a:lnTo>
                <a:cubicBezTo>
                  <a:pt x="26194" y="359474"/>
                  <a:pt x="0" y="315182"/>
                  <a:pt x="0" y="264700"/>
                </a:cubicBezTo>
                <a:cubicBezTo>
                  <a:pt x="0" y="185833"/>
                  <a:pt x="64008" y="121825"/>
                  <a:pt x="142875" y="121825"/>
                </a:cubicBezTo>
                <a:cubicBezTo>
                  <a:pt x="221742" y="121825"/>
                  <a:pt x="285750" y="185833"/>
                  <a:pt x="285750" y="264700"/>
                </a:cubicBezTo>
                <a:cubicBezTo>
                  <a:pt x="285750" y="275654"/>
                  <a:pt x="284036" y="286322"/>
                  <a:pt x="280988" y="296513"/>
                </a:cubicBezTo>
                <a:cubicBezTo>
                  <a:pt x="338042" y="297466"/>
                  <a:pt x="384143" y="344043"/>
                  <a:pt x="384143" y="401288"/>
                </a:cubicBezTo>
                <a:close/>
                <a:moveTo>
                  <a:pt x="178975" y="431387"/>
                </a:moveTo>
                <a:cubicBezTo>
                  <a:pt x="176117" y="421862"/>
                  <a:pt x="174498" y="411766"/>
                  <a:pt x="174498" y="401193"/>
                </a:cubicBezTo>
                <a:cubicBezTo>
                  <a:pt x="174498" y="354521"/>
                  <a:pt x="205264" y="314801"/>
                  <a:pt x="247555" y="301371"/>
                </a:cubicBezTo>
                <a:cubicBezTo>
                  <a:pt x="251651" y="289751"/>
                  <a:pt x="253937" y="277368"/>
                  <a:pt x="253937" y="264700"/>
                </a:cubicBezTo>
                <a:cubicBezTo>
                  <a:pt x="253937" y="203454"/>
                  <a:pt x="204121" y="153543"/>
                  <a:pt x="142780" y="153543"/>
                </a:cubicBezTo>
                <a:cubicBezTo>
                  <a:pt x="81534" y="153543"/>
                  <a:pt x="31623" y="203359"/>
                  <a:pt x="31623" y="264700"/>
                </a:cubicBezTo>
                <a:cubicBezTo>
                  <a:pt x="31623" y="302609"/>
                  <a:pt x="50768" y="337566"/>
                  <a:pt x="82677" y="358140"/>
                </a:cubicBezTo>
                <a:lnTo>
                  <a:pt x="97250" y="367475"/>
                </a:lnTo>
                <a:lnTo>
                  <a:pt x="97250" y="384810"/>
                </a:lnTo>
                <a:lnTo>
                  <a:pt x="97250" y="431292"/>
                </a:lnTo>
                <a:lnTo>
                  <a:pt x="178975" y="431292"/>
                </a:lnTo>
                <a:close/>
                <a:moveTo>
                  <a:pt x="355568" y="401288"/>
                </a:moveTo>
                <a:cubicBezTo>
                  <a:pt x="355568" y="359283"/>
                  <a:pt x="321374" y="325088"/>
                  <a:pt x="279368" y="325088"/>
                </a:cubicBezTo>
                <a:cubicBezTo>
                  <a:pt x="237363" y="325088"/>
                  <a:pt x="203168" y="359283"/>
                  <a:pt x="203168" y="401288"/>
                </a:cubicBezTo>
                <a:cubicBezTo>
                  <a:pt x="203168" y="443294"/>
                  <a:pt x="237363" y="477488"/>
                  <a:pt x="279368" y="477488"/>
                </a:cubicBezTo>
                <a:cubicBezTo>
                  <a:pt x="321374" y="477488"/>
                  <a:pt x="355568" y="443294"/>
                  <a:pt x="355568" y="401288"/>
                </a:cubicBezTo>
                <a:close/>
              </a:path>
            </a:pathLst>
          </a:custGeom>
          <a:solidFill>
            <a:srgbClr val="002856"/>
          </a:solidFill>
          <a:ln w="9525" cap="flat">
            <a:noFill/>
            <a:prstDash val="solid"/>
            <a:miter/>
          </a:ln>
        </p:spPr>
        <p:txBody>
          <a:bodyPr rtlCol="0" anchor="ctr"/>
          <a:lstStyle/>
          <a:p>
            <a:endParaRPr lang="en-GB"/>
          </a:p>
        </p:txBody>
      </p:sp>
      <p:grpSp>
        <p:nvGrpSpPr>
          <p:cNvPr id="33" name="Group 32">
            <a:extLst>
              <a:ext uri="{FF2B5EF4-FFF2-40B4-BE49-F238E27FC236}">
                <a16:creationId xmlns:a16="http://schemas.microsoft.com/office/drawing/2014/main" id="{4C86BC9E-D51E-4D8F-9EBE-79B253C821F4}"/>
              </a:ext>
            </a:extLst>
          </p:cNvPr>
          <p:cNvGrpSpPr/>
          <p:nvPr/>
        </p:nvGrpSpPr>
        <p:grpSpPr>
          <a:xfrm>
            <a:off x="970383" y="2945521"/>
            <a:ext cx="1380291" cy="1428318"/>
            <a:chOff x="616973" y="3159881"/>
            <a:chExt cx="1380291" cy="1428318"/>
          </a:xfrm>
        </p:grpSpPr>
        <p:sp>
          <p:nvSpPr>
            <p:cNvPr id="34" name="TextBox 33">
              <a:extLst>
                <a:ext uri="{FF2B5EF4-FFF2-40B4-BE49-F238E27FC236}">
                  <a16:creationId xmlns:a16="http://schemas.microsoft.com/office/drawing/2014/main" id="{FA6232F9-A360-4F88-8EE4-C40A292FE707}"/>
                </a:ext>
              </a:extLst>
            </p:cNvPr>
            <p:cNvSpPr txBox="1"/>
            <p:nvPr/>
          </p:nvSpPr>
          <p:spPr>
            <a:xfrm>
              <a:off x="683664" y="3824663"/>
              <a:ext cx="1246909" cy="763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Survey</a:t>
              </a:r>
            </a:p>
            <a:p>
              <a:r>
                <a:rPr lang="en-US" i="1" kern="0">
                  <a:solidFill>
                    <a:srgbClr val="009AD7"/>
                  </a:solidFill>
                  <a:ea typeface="Arial Unicode MS"/>
                </a:rPr>
                <a:t>71% </a:t>
              </a:r>
              <a:r>
                <a:rPr lang="en-US" b="0" i="1" kern="0">
                  <a:solidFill>
                    <a:srgbClr val="6F7878"/>
                  </a:solidFill>
                  <a:ea typeface="Arial Unicode MS"/>
                </a:rPr>
                <a:t>response rate*</a:t>
              </a:r>
              <a:endParaRPr lang="en-US" i="1" kern="0">
                <a:solidFill>
                  <a:srgbClr val="009AD7"/>
                </a:solidFill>
                <a:ea typeface="Arial Unicode MS"/>
                <a:cs typeface="Arial Unicode MS"/>
              </a:endParaRPr>
            </a:p>
            <a:p>
              <a:r>
                <a:rPr lang="en-US" i="1" kern="0">
                  <a:solidFill>
                    <a:srgbClr val="009AD7"/>
                  </a:solidFill>
                  <a:ea typeface="Arial Unicode MS"/>
                  <a:cs typeface="Arial Unicode MS"/>
                </a:rPr>
                <a:t>46 </a:t>
              </a:r>
              <a:r>
                <a:rPr lang="en-US" b="0" i="1" kern="0">
                  <a:solidFill>
                    <a:srgbClr val="6F7878"/>
                  </a:solidFill>
                  <a:ea typeface="Arial Unicode MS"/>
                  <a:cs typeface="Arial Unicode MS"/>
                </a:rPr>
                <a:t>of 65 completed survey responses</a:t>
              </a:r>
              <a:endParaRPr lang="en-US" b="0"/>
            </a:p>
          </p:txBody>
        </p:sp>
        <p:sp>
          <p:nvSpPr>
            <p:cNvPr id="35" name="Rectangle 34">
              <a:extLst>
                <a:ext uri="{FF2B5EF4-FFF2-40B4-BE49-F238E27FC236}">
                  <a16:creationId xmlns:a16="http://schemas.microsoft.com/office/drawing/2014/main" id="{511A20BA-1557-40FA-951E-AEF30E1312F8}"/>
                </a:ext>
              </a:extLst>
            </p:cNvPr>
            <p:cNvSpPr/>
            <p:nvPr/>
          </p:nvSpPr>
          <p:spPr>
            <a:xfrm>
              <a:off x="616973" y="3159881"/>
              <a:ext cx="1380291" cy="1352118"/>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36" name="Group 35">
              <a:extLst>
                <a:ext uri="{FF2B5EF4-FFF2-40B4-BE49-F238E27FC236}">
                  <a16:creationId xmlns:a16="http://schemas.microsoft.com/office/drawing/2014/main" id="{E050AB3D-4E4B-4FFE-BD5D-F42D076EA608}"/>
                </a:ext>
              </a:extLst>
            </p:cNvPr>
            <p:cNvGrpSpPr>
              <a:grpSpLocks noChangeAspect="1"/>
            </p:cNvGrpSpPr>
            <p:nvPr/>
          </p:nvGrpSpPr>
          <p:grpSpPr bwMode="gray">
            <a:xfrm>
              <a:off x="1021368" y="3398890"/>
              <a:ext cx="571500" cy="381000"/>
              <a:chOff x="9110669" y="1367915"/>
              <a:chExt cx="571500" cy="381000"/>
            </a:xfrm>
            <a:solidFill>
              <a:srgbClr val="06C4B0"/>
            </a:solidFill>
          </p:grpSpPr>
          <p:sp>
            <p:nvSpPr>
              <p:cNvPr id="37" name="Freeform: Shape 36">
                <a:extLst>
                  <a:ext uri="{FF2B5EF4-FFF2-40B4-BE49-F238E27FC236}">
                    <a16:creationId xmlns:a16="http://schemas.microsoft.com/office/drawing/2014/main" id="{2AA82924-7C69-43EB-9CD6-53BAFB8FD9C3}"/>
                  </a:ext>
                </a:extLst>
              </p:cNvPr>
              <p:cNvSpPr/>
              <p:nvPr/>
            </p:nvSpPr>
            <p:spPr bwMode="gray">
              <a:xfrm>
                <a:off x="9272594" y="1518219"/>
                <a:ext cx="38100" cy="95250"/>
              </a:xfrm>
              <a:custGeom>
                <a:avLst/>
                <a:gdLst>
                  <a:gd name="connsiteX0" fmla="*/ 0 w 38100"/>
                  <a:gd name="connsiteY0" fmla="*/ 0 h 95250"/>
                  <a:gd name="connsiteX1" fmla="*/ 38100 w 38100"/>
                  <a:gd name="connsiteY1" fmla="*/ 0 h 95250"/>
                  <a:gd name="connsiteX2" fmla="*/ 38100 w 38100"/>
                  <a:gd name="connsiteY2" fmla="*/ 97345 h 95250"/>
                  <a:gd name="connsiteX3" fmla="*/ 0 w 38100"/>
                  <a:gd name="connsiteY3" fmla="*/ 97345 h 95250"/>
                </a:gdLst>
                <a:ahLst/>
                <a:cxnLst>
                  <a:cxn ang="0">
                    <a:pos x="connsiteX0" y="connsiteY0"/>
                  </a:cxn>
                  <a:cxn ang="0">
                    <a:pos x="connsiteX1" y="connsiteY1"/>
                  </a:cxn>
                  <a:cxn ang="0">
                    <a:pos x="connsiteX2" y="connsiteY2"/>
                  </a:cxn>
                  <a:cxn ang="0">
                    <a:pos x="connsiteX3" y="connsiteY3"/>
                  </a:cxn>
                </a:cxnLst>
                <a:rect l="l" t="t" r="r" b="b"/>
                <a:pathLst>
                  <a:path w="38100" h="95250">
                    <a:moveTo>
                      <a:pt x="0" y="0"/>
                    </a:moveTo>
                    <a:lnTo>
                      <a:pt x="38100" y="0"/>
                    </a:lnTo>
                    <a:lnTo>
                      <a:pt x="38100" y="97345"/>
                    </a:lnTo>
                    <a:lnTo>
                      <a:pt x="0" y="97345"/>
                    </a:lnTo>
                    <a:close/>
                  </a:path>
                </a:pathLst>
              </a:custGeom>
              <a:grp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F6420AC6-89E1-498B-AF91-3000E8321FC3}"/>
                  </a:ext>
                </a:extLst>
              </p:cNvPr>
              <p:cNvSpPr/>
              <p:nvPr/>
            </p:nvSpPr>
            <p:spPr bwMode="gray">
              <a:xfrm>
                <a:off x="9339269" y="1481167"/>
                <a:ext cx="38100" cy="133350"/>
              </a:xfrm>
              <a:custGeom>
                <a:avLst/>
                <a:gdLst>
                  <a:gd name="connsiteX0" fmla="*/ 0 w 38100"/>
                  <a:gd name="connsiteY0" fmla="*/ 0 h 133350"/>
                  <a:gd name="connsiteX1" fmla="*/ 38100 w 38100"/>
                  <a:gd name="connsiteY1" fmla="*/ 0 h 133350"/>
                  <a:gd name="connsiteX2" fmla="*/ 38100 w 38100"/>
                  <a:gd name="connsiteY2" fmla="*/ 134398 h 133350"/>
                  <a:gd name="connsiteX3" fmla="*/ 0 w 38100"/>
                  <a:gd name="connsiteY3" fmla="*/ 134398 h 133350"/>
                </a:gdLst>
                <a:ahLst/>
                <a:cxnLst>
                  <a:cxn ang="0">
                    <a:pos x="connsiteX0" y="connsiteY0"/>
                  </a:cxn>
                  <a:cxn ang="0">
                    <a:pos x="connsiteX1" y="connsiteY1"/>
                  </a:cxn>
                  <a:cxn ang="0">
                    <a:pos x="connsiteX2" y="connsiteY2"/>
                  </a:cxn>
                  <a:cxn ang="0">
                    <a:pos x="connsiteX3" y="connsiteY3"/>
                  </a:cxn>
                </a:cxnLst>
                <a:rect l="l" t="t" r="r" b="b"/>
                <a:pathLst>
                  <a:path w="38100" h="133350">
                    <a:moveTo>
                      <a:pt x="0" y="0"/>
                    </a:moveTo>
                    <a:lnTo>
                      <a:pt x="38100" y="0"/>
                    </a:lnTo>
                    <a:lnTo>
                      <a:pt x="38100" y="134398"/>
                    </a:lnTo>
                    <a:lnTo>
                      <a:pt x="0" y="134398"/>
                    </a:lnTo>
                    <a:close/>
                  </a:path>
                </a:pathLst>
              </a:custGeom>
              <a:grp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69859DEF-8D74-4626-9D6D-5F740AA0EB43}"/>
                  </a:ext>
                </a:extLst>
              </p:cNvPr>
              <p:cNvSpPr/>
              <p:nvPr/>
            </p:nvSpPr>
            <p:spPr bwMode="gray">
              <a:xfrm>
                <a:off x="9405944" y="1518219"/>
                <a:ext cx="38100" cy="95250"/>
              </a:xfrm>
              <a:custGeom>
                <a:avLst/>
                <a:gdLst>
                  <a:gd name="connsiteX0" fmla="*/ 0 w 38100"/>
                  <a:gd name="connsiteY0" fmla="*/ 0 h 95250"/>
                  <a:gd name="connsiteX1" fmla="*/ 38100 w 38100"/>
                  <a:gd name="connsiteY1" fmla="*/ 0 h 95250"/>
                  <a:gd name="connsiteX2" fmla="*/ 38100 w 38100"/>
                  <a:gd name="connsiteY2" fmla="*/ 97345 h 95250"/>
                  <a:gd name="connsiteX3" fmla="*/ 0 w 38100"/>
                  <a:gd name="connsiteY3" fmla="*/ 97345 h 95250"/>
                </a:gdLst>
                <a:ahLst/>
                <a:cxnLst>
                  <a:cxn ang="0">
                    <a:pos x="connsiteX0" y="connsiteY0"/>
                  </a:cxn>
                  <a:cxn ang="0">
                    <a:pos x="connsiteX1" y="connsiteY1"/>
                  </a:cxn>
                  <a:cxn ang="0">
                    <a:pos x="connsiteX2" y="connsiteY2"/>
                  </a:cxn>
                  <a:cxn ang="0">
                    <a:pos x="connsiteX3" y="connsiteY3"/>
                  </a:cxn>
                </a:cxnLst>
                <a:rect l="l" t="t" r="r" b="b"/>
                <a:pathLst>
                  <a:path w="38100" h="95250">
                    <a:moveTo>
                      <a:pt x="0" y="0"/>
                    </a:moveTo>
                    <a:lnTo>
                      <a:pt x="38100" y="0"/>
                    </a:lnTo>
                    <a:lnTo>
                      <a:pt x="38100" y="97345"/>
                    </a:lnTo>
                    <a:lnTo>
                      <a:pt x="0" y="97345"/>
                    </a:lnTo>
                    <a:close/>
                  </a:path>
                </a:pathLst>
              </a:custGeom>
              <a:grp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672EAB14-315B-4E05-8240-7CF11F6A8663}"/>
                  </a:ext>
                </a:extLst>
              </p:cNvPr>
              <p:cNvSpPr/>
              <p:nvPr/>
            </p:nvSpPr>
            <p:spPr bwMode="gray">
              <a:xfrm>
                <a:off x="9472619" y="1444115"/>
                <a:ext cx="38100" cy="171450"/>
              </a:xfrm>
              <a:custGeom>
                <a:avLst/>
                <a:gdLst>
                  <a:gd name="connsiteX0" fmla="*/ 0 w 38100"/>
                  <a:gd name="connsiteY0" fmla="*/ 0 h 171450"/>
                  <a:gd name="connsiteX1" fmla="*/ 38100 w 38100"/>
                  <a:gd name="connsiteY1" fmla="*/ 0 h 171450"/>
                  <a:gd name="connsiteX2" fmla="*/ 38100 w 38100"/>
                  <a:gd name="connsiteY2" fmla="*/ 171450 h 171450"/>
                  <a:gd name="connsiteX3" fmla="*/ 0 w 381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8100" h="171450">
                    <a:moveTo>
                      <a:pt x="0" y="0"/>
                    </a:moveTo>
                    <a:lnTo>
                      <a:pt x="38100" y="0"/>
                    </a:lnTo>
                    <a:lnTo>
                      <a:pt x="38100" y="171450"/>
                    </a:lnTo>
                    <a:lnTo>
                      <a:pt x="0" y="171450"/>
                    </a:lnTo>
                    <a:close/>
                  </a:path>
                </a:pathLst>
              </a:custGeom>
              <a:grp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85D798AD-B706-479C-BD45-54ABA4766727}"/>
                  </a:ext>
                </a:extLst>
              </p:cNvPr>
              <p:cNvSpPr/>
              <p:nvPr/>
            </p:nvSpPr>
            <p:spPr bwMode="gray">
              <a:xfrm>
                <a:off x="9110669" y="1710815"/>
                <a:ext cx="571500" cy="38100"/>
              </a:xfrm>
              <a:custGeom>
                <a:avLst/>
                <a:gdLst>
                  <a:gd name="connsiteX0" fmla="*/ 0 w 571500"/>
                  <a:gd name="connsiteY0" fmla="*/ 0 h 38100"/>
                  <a:gd name="connsiteX1" fmla="*/ 571500 w 571500"/>
                  <a:gd name="connsiteY1" fmla="*/ 0 h 38100"/>
                  <a:gd name="connsiteX2" fmla="*/ 571500 w 571500"/>
                  <a:gd name="connsiteY2" fmla="*/ 38100 h 38100"/>
                  <a:gd name="connsiteX3" fmla="*/ 0 w 5715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571500" h="38100">
                    <a:moveTo>
                      <a:pt x="0" y="0"/>
                    </a:moveTo>
                    <a:lnTo>
                      <a:pt x="571500" y="0"/>
                    </a:lnTo>
                    <a:lnTo>
                      <a:pt x="571500" y="38100"/>
                    </a:lnTo>
                    <a:lnTo>
                      <a:pt x="0" y="38100"/>
                    </a:lnTo>
                    <a:close/>
                  </a:path>
                </a:pathLst>
              </a:custGeom>
              <a:grp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6812ADB3-F218-4D56-AB6E-2982FE391E4F}"/>
                  </a:ext>
                </a:extLst>
              </p:cNvPr>
              <p:cNvSpPr/>
              <p:nvPr/>
            </p:nvSpPr>
            <p:spPr bwMode="gray">
              <a:xfrm>
                <a:off x="9186869" y="1367915"/>
                <a:ext cx="419100" cy="304800"/>
              </a:xfrm>
              <a:custGeom>
                <a:avLst/>
                <a:gdLst>
                  <a:gd name="connsiteX0" fmla="*/ 419100 w 419100"/>
                  <a:gd name="connsiteY0" fmla="*/ 0 h 304800"/>
                  <a:gd name="connsiteX1" fmla="*/ 0 w 419100"/>
                  <a:gd name="connsiteY1" fmla="*/ 0 h 304800"/>
                  <a:gd name="connsiteX2" fmla="*/ 0 w 419100"/>
                  <a:gd name="connsiteY2" fmla="*/ 304800 h 304800"/>
                  <a:gd name="connsiteX3" fmla="*/ 419100 w 419100"/>
                  <a:gd name="connsiteY3" fmla="*/ 304800 h 304800"/>
                  <a:gd name="connsiteX4" fmla="*/ 419100 w 419100"/>
                  <a:gd name="connsiteY4" fmla="*/ 0 h 304800"/>
                  <a:gd name="connsiteX5" fmla="*/ 381000 w 419100"/>
                  <a:gd name="connsiteY5" fmla="*/ 266700 h 304800"/>
                  <a:gd name="connsiteX6" fmla="*/ 38100 w 419100"/>
                  <a:gd name="connsiteY6" fmla="*/ 266700 h 304800"/>
                  <a:gd name="connsiteX7" fmla="*/ 38100 w 419100"/>
                  <a:gd name="connsiteY7" fmla="*/ 38100 h 304800"/>
                  <a:gd name="connsiteX8" fmla="*/ 381000 w 419100"/>
                  <a:gd name="connsiteY8" fmla="*/ 38100 h 304800"/>
                  <a:gd name="connsiteX9" fmla="*/ 381000 w 419100"/>
                  <a:gd name="connsiteY9" fmla="*/ 2667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100" h="304800">
                    <a:moveTo>
                      <a:pt x="419100" y="0"/>
                    </a:moveTo>
                    <a:lnTo>
                      <a:pt x="0" y="0"/>
                    </a:lnTo>
                    <a:lnTo>
                      <a:pt x="0" y="304800"/>
                    </a:lnTo>
                    <a:lnTo>
                      <a:pt x="419100" y="304800"/>
                    </a:lnTo>
                    <a:lnTo>
                      <a:pt x="419100" y="0"/>
                    </a:lnTo>
                    <a:close/>
                    <a:moveTo>
                      <a:pt x="381000" y="266700"/>
                    </a:moveTo>
                    <a:lnTo>
                      <a:pt x="38100" y="266700"/>
                    </a:lnTo>
                    <a:lnTo>
                      <a:pt x="38100" y="38100"/>
                    </a:lnTo>
                    <a:lnTo>
                      <a:pt x="381000" y="38100"/>
                    </a:lnTo>
                    <a:lnTo>
                      <a:pt x="381000" y="266700"/>
                    </a:lnTo>
                    <a:close/>
                  </a:path>
                </a:pathLst>
              </a:custGeom>
              <a:grpFill/>
              <a:ln w="9525" cap="flat">
                <a:noFill/>
                <a:prstDash val="solid"/>
                <a:miter/>
              </a:ln>
            </p:spPr>
            <p:txBody>
              <a:bodyPr rtlCol="0" anchor="ctr"/>
              <a:lstStyle/>
              <a:p>
                <a:endParaRPr lang="en-GB"/>
              </a:p>
            </p:txBody>
          </p:sp>
        </p:grpSp>
      </p:grpSp>
      <p:sp>
        <p:nvSpPr>
          <p:cNvPr id="43" name="TextBox 42">
            <a:extLst>
              <a:ext uri="{FF2B5EF4-FFF2-40B4-BE49-F238E27FC236}">
                <a16:creationId xmlns:a16="http://schemas.microsoft.com/office/drawing/2014/main" id="{04B3D257-5C3E-4D61-9C1C-107C2EAA3EEF}"/>
              </a:ext>
            </a:extLst>
          </p:cNvPr>
          <p:cNvSpPr txBox="1"/>
          <p:nvPr/>
        </p:nvSpPr>
        <p:spPr>
          <a:xfrm>
            <a:off x="997984" y="2079822"/>
            <a:ext cx="1325088" cy="6304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Interviews</a:t>
            </a:r>
          </a:p>
          <a:p>
            <a:r>
              <a:rPr lang="en-US" i="1" kern="0">
                <a:solidFill>
                  <a:srgbClr val="009AD7"/>
                </a:solidFill>
                <a:ea typeface="Arial Unicode MS"/>
                <a:cs typeface="Arial Unicode MS"/>
              </a:rPr>
              <a:t>35</a:t>
            </a:r>
            <a:r>
              <a:rPr lang="en-US" i="1" kern="0">
                <a:solidFill>
                  <a:srgbClr val="6F7878"/>
                </a:solidFill>
                <a:ea typeface="Arial Unicode MS"/>
                <a:cs typeface="Arial Unicode MS"/>
              </a:rPr>
              <a:t> </a:t>
            </a:r>
            <a:r>
              <a:rPr lang="en-US" b="0" i="1" kern="0">
                <a:solidFill>
                  <a:srgbClr val="6F7878"/>
                </a:solidFill>
                <a:ea typeface="Arial Unicode MS"/>
                <a:cs typeface="Arial Unicode MS"/>
              </a:rPr>
              <a:t>Interviews</a:t>
            </a:r>
            <a:br>
              <a:rPr lang="en-US" i="1" kern="0">
                <a:solidFill>
                  <a:srgbClr val="6F7878"/>
                </a:solidFill>
                <a:ea typeface="Arial Unicode MS"/>
                <a:cs typeface="Arial Unicode MS"/>
              </a:rPr>
            </a:br>
            <a:r>
              <a:rPr lang="en-US" i="1" kern="0">
                <a:solidFill>
                  <a:srgbClr val="009AD7"/>
                </a:solidFill>
                <a:ea typeface="Arial Unicode MS"/>
                <a:cs typeface="Arial Unicode MS"/>
              </a:rPr>
              <a:t>70+</a:t>
            </a:r>
            <a:r>
              <a:rPr lang="en-US" i="1" kern="0">
                <a:solidFill>
                  <a:srgbClr val="6F7878"/>
                </a:solidFill>
                <a:ea typeface="Arial Unicode MS"/>
                <a:cs typeface="Arial Unicode MS"/>
              </a:rPr>
              <a:t> </a:t>
            </a:r>
            <a:r>
              <a:rPr lang="en-US" b="0" i="1" kern="0">
                <a:solidFill>
                  <a:srgbClr val="6F7878"/>
                </a:solidFill>
                <a:ea typeface="Arial Unicode MS"/>
                <a:cs typeface="Arial Unicode MS"/>
              </a:rPr>
              <a:t>Stakeholders</a:t>
            </a:r>
          </a:p>
        </p:txBody>
      </p:sp>
      <p:sp>
        <p:nvSpPr>
          <p:cNvPr id="44" name="Rectangle 43">
            <a:extLst>
              <a:ext uri="{FF2B5EF4-FFF2-40B4-BE49-F238E27FC236}">
                <a16:creationId xmlns:a16="http://schemas.microsoft.com/office/drawing/2014/main" id="{9FACD921-6BFF-479B-8E8A-2F4F2FD3B091}"/>
              </a:ext>
            </a:extLst>
          </p:cNvPr>
          <p:cNvSpPr/>
          <p:nvPr/>
        </p:nvSpPr>
        <p:spPr>
          <a:xfrm>
            <a:off x="970383" y="1466860"/>
            <a:ext cx="1380291" cy="1352118"/>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45" name="Graphic 4">
            <a:extLst>
              <a:ext uri="{FF2B5EF4-FFF2-40B4-BE49-F238E27FC236}">
                <a16:creationId xmlns:a16="http://schemas.microsoft.com/office/drawing/2014/main" id="{603172B0-6181-4C60-B6E2-146F7BA6342C}"/>
              </a:ext>
            </a:extLst>
          </p:cNvPr>
          <p:cNvGrpSpPr>
            <a:grpSpLocks noChangeAspect="1"/>
          </p:cNvGrpSpPr>
          <p:nvPr/>
        </p:nvGrpSpPr>
        <p:grpSpPr bwMode="gray">
          <a:xfrm>
            <a:off x="1384303" y="1701674"/>
            <a:ext cx="552450" cy="333375"/>
            <a:chOff x="7568184" y="2866072"/>
            <a:chExt cx="552450" cy="333375"/>
          </a:xfrm>
          <a:solidFill>
            <a:srgbClr val="06C4B0"/>
          </a:solidFill>
        </p:grpSpPr>
        <p:sp>
          <p:nvSpPr>
            <p:cNvPr id="46" name="Freeform: Shape 45">
              <a:extLst>
                <a:ext uri="{FF2B5EF4-FFF2-40B4-BE49-F238E27FC236}">
                  <a16:creationId xmlns:a16="http://schemas.microsoft.com/office/drawing/2014/main" id="{5BDC151B-76E2-4162-B97E-06C2570D3DB9}"/>
                </a:ext>
              </a:extLst>
            </p:cNvPr>
            <p:cNvSpPr/>
            <p:nvPr/>
          </p:nvSpPr>
          <p:spPr bwMode="gray">
            <a:xfrm>
              <a:off x="7693438" y="2866072"/>
              <a:ext cx="114300" cy="114300"/>
            </a:xfrm>
            <a:custGeom>
              <a:avLst/>
              <a:gdLst>
                <a:gd name="connsiteX0" fmla="*/ 114300 w 114300"/>
                <a:gd name="connsiteY0" fmla="*/ 57436 h 114300"/>
                <a:gd name="connsiteX1" fmla="*/ 57150 w 114300"/>
                <a:gd name="connsiteY1" fmla="*/ 0 h 114300"/>
                <a:gd name="connsiteX2" fmla="*/ 0 w 114300"/>
                <a:gd name="connsiteY2" fmla="*/ 57436 h 114300"/>
                <a:gd name="connsiteX3" fmla="*/ 57150 w 114300"/>
                <a:gd name="connsiteY3" fmla="*/ 114871 h 114300"/>
                <a:gd name="connsiteX4" fmla="*/ 114300 w 114300"/>
                <a:gd name="connsiteY4" fmla="*/ 57436 h 114300"/>
                <a:gd name="connsiteX5" fmla="*/ 57150 w 114300"/>
                <a:gd name="connsiteY5" fmla="*/ 76867 h 114300"/>
                <a:gd name="connsiteX6" fmla="*/ 38005 w 114300"/>
                <a:gd name="connsiteY6" fmla="*/ 57436 h 114300"/>
                <a:gd name="connsiteX7" fmla="*/ 57150 w 114300"/>
                <a:gd name="connsiteY7" fmla="*/ 38005 h 114300"/>
                <a:gd name="connsiteX8" fmla="*/ 76295 w 114300"/>
                <a:gd name="connsiteY8" fmla="*/ 57436 h 114300"/>
                <a:gd name="connsiteX9" fmla="*/ 57150 w 114300"/>
                <a:gd name="connsiteY9" fmla="*/ 76867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114300" y="57436"/>
                  </a:moveTo>
                  <a:cubicBezTo>
                    <a:pt x="114300" y="25813"/>
                    <a:pt x="88678" y="0"/>
                    <a:pt x="57150" y="0"/>
                  </a:cubicBezTo>
                  <a:cubicBezTo>
                    <a:pt x="25622" y="0"/>
                    <a:pt x="0" y="25718"/>
                    <a:pt x="0" y="57436"/>
                  </a:cubicBezTo>
                  <a:cubicBezTo>
                    <a:pt x="0" y="89154"/>
                    <a:pt x="25622" y="114871"/>
                    <a:pt x="57150" y="114871"/>
                  </a:cubicBezTo>
                  <a:cubicBezTo>
                    <a:pt x="88678" y="114871"/>
                    <a:pt x="114300" y="89059"/>
                    <a:pt x="114300" y="57436"/>
                  </a:cubicBezTo>
                  <a:close/>
                  <a:moveTo>
                    <a:pt x="57150" y="76867"/>
                  </a:moveTo>
                  <a:cubicBezTo>
                    <a:pt x="46577" y="76867"/>
                    <a:pt x="38005" y="68104"/>
                    <a:pt x="38005" y="57436"/>
                  </a:cubicBezTo>
                  <a:cubicBezTo>
                    <a:pt x="38005" y="46673"/>
                    <a:pt x="46577" y="38005"/>
                    <a:pt x="57150" y="38005"/>
                  </a:cubicBezTo>
                  <a:cubicBezTo>
                    <a:pt x="67723" y="38005"/>
                    <a:pt x="76295" y="46768"/>
                    <a:pt x="76295" y="57436"/>
                  </a:cubicBezTo>
                  <a:cubicBezTo>
                    <a:pt x="76295" y="68199"/>
                    <a:pt x="67723" y="76867"/>
                    <a:pt x="57150" y="76867"/>
                  </a:cubicBezTo>
                  <a:close/>
                </a:path>
              </a:pathLst>
            </a:custGeom>
            <a:grp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CBBF42D4-1AA0-46B0-AE25-354DE5349742}"/>
                </a:ext>
              </a:extLst>
            </p:cNvPr>
            <p:cNvSpPr/>
            <p:nvPr/>
          </p:nvSpPr>
          <p:spPr bwMode="gray">
            <a:xfrm>
              <a:off x="7891653" y="2866072"/>
              <a:ext cx="114300" cy="114300"/>
            </a:xfrm>
            <a:custGeom>
              <a:avLst/>
              <a:gdLst>
                <a:gd name="connsiteX0" fmla="*/ 114300 w 114300"/>
                <a:gd name="connsiteY0" fmla="*/ 57436 h 114300"/>
                <a:gd name="connsiteX1" fmla="*/ 57150 w 114300"/>
                <a:gd name="connsiteY1" fmla="*/ 0 h 114300"/>
                <a:gd name="connsiteX2" fmla="*/ 0 w 114300"/>
                <a:gd name="connsiteY2" fmla="*/ 57436 h 114300"/>
                <a:gd name="connsiteX3" fmla="*/ 57150 w 114300"/>
                <a:gd name="connsiteY3" fmla="*/ 114871 h 114300"/>
                <a:gd name="connsiteX4" fmla="*/ 114300 w 114300"/>
                <a:gd name="connsiteY4" fmla="*/ 57436 h 114300"/>
                <a:gd name="connsiteX5" fmla="*/ 57150 w 114300"/>
                <a:gd name="connsiteY5" fmla="*/ 76867 h 114300"/>
                <a:gd name="connsiteX6" fmla="*/ 38005 w 114300"/>
                <a:gd name="connsiteY6" fmla="*/ 57436 h 114300"/>
                <a:gd name="connsiteX7" fmla="*/ 57150 w 114300"/>
                <a:gd name="connsiteY7" fmla="*/ 38005 h 114300"/>
                <a:gd name="connsiteX8" fmla="*/ 76295 w 114300"/>
                <a:gd name="connsiteY8" fmla="*/ 57436 h 114300"/>
                <a:gd name="connsiteX9" fmla="*/ 57150 w 114300"/>
                <a:gd name="connsiteY9" fmla="*/ 76867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114300" y="57436"/>
                  </a:moveTo>
                  <a:cubicBezTo>
                    <a:pt x="114300" y="25813"/>
                    <a:pt x="88678" y="0"/>
                    <a:pt x="57150" y="0"/>
                  </a:cubicBezTo>
                  <a:cubicBezTo>
                    <a:pt x="25622" y="0"/>
                    <a:pt x="0" y="25718"/>
                    <a:pt x="0" y="57436"/>
                  </a:cubicBezTo>
                  <a:cubicBezTo>
                    <a:pt x="0" y="89154"/>
                    <a:pt x="25622" y="114871"/>
                    <a:pt x="57150" y="114871"/>
                  </a:cubicBezTo>
                  <a:cubicBezTo>
                    <a:pt x="88678" y="114871"/>
                    <a:pt x="114300" y="89059"/>
                    <a:pt x="114300" y="57436"/>
                  </a:cubicBezTo>
                  <a:close/>
                  <a:moveTo>
                    <a:pt x="57150" y="76867"/>
                  </a:moveTo>
                  <a:cubicBezTo>
                    <a:pt x="46577" y="76867"/>
                    <a:pt x="38005" y="68104"/>
                    <a:pt x="38005" y="57436"/>
                  </a:cubicBezTo>
                  <a:cubicBezTo>
                    <a:pt x="38005" y="46673"/>
                    <a:pt x="46577" y="38005"/>
                    <a:pt x="57150" y="38005"/>
                  </a:cubicBezTo>
                  <a:cubicBezTo>
                    <a:pt x="67723" y="38005"/>
                    <a:pt x="76295" y="46768"/>
                    <a:pt x="76295" y="57436"/>
                  </a:cubicBezTo>
                  <a:cubicBezTo>
                    <a:pt x="76391" y="68199"/>
                    <a:pt x="67818" y="76867"/>
                    <a:pt x="57150" y="76867"/>
                  </a:cubicBezTo>
                  <a:close/>
                </a:path>
              </a:pathLst>
            </a:custGeom>
            <a:grp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A5F14470-97CB-40DC-B464-EC33A2B19B28}"/>
                </a:ext>
              </a:extLst>
            </p:cNvPr>
            <p:cNvSpPr/>
            <p:nvPr/>
          </p:nvSpPr>
          <p:spPr bwMode="gray">
            <a:xfrm>
              <a:off x="7568184" y="2971800"/>
              <a:ext cx="161925" cy="228600"/>
            </a:xfrm>
            <a:custGeom>
              <a:avLst/>
              <a:gdLst>
                <a:gd name="connsiteX0" fmla="*/ 138875 w 161925"/>
                <a:gd name="connsiteY0" fmla="*/ 57436 h 228600"/>
                <a:gd name="connsiteX1" fmla="*/ 81725 w 161925"/>
                <a:gd name="connsiteY1" fmla="*/ 0 h 228600"/>
                <a:gd name="connsiteX2" fmla="*/ 24575 w 161925"/>
                <a:gd name="connsiteY2" fmla="*/ 57436 h 228600"/>
                <a:gd name="connsiteX3" fmla="*/ 50959 w 161925"/>
                <a:gd name="connsiteY3" fmla="*/ 105728 h 228600"/>
                <a:gd name="connsiteX4" fmla="*/ 0 w 161925"/>
                <a:gd name="connsiteY4" fmla="*/ 105728 h 228600"/>
                <a:gd name="connsiteX5" fmla="*/ 0 w 161925"/>
                <a:gd name="connsiteY5" fmla="*/ 231839 h 228600"/>
                <a:gd name="connsiteX6" fmla="*/ 37910 w 161925"/>
                <a:gd name="connsiteY6" fmla="*/ 231839 h 228600"/>
                <a:gd name="connsiteX7" fmla="*/ 37910 w 161925"/>
                <a:gd name="connsiteY7" fmla="*/ 143637 h 228600"/>
                <a:gd name="connsiteX8" fmla="*/ 125539 w 161925"/>
                <a:gd name="connsiteY8" fmla="*/ 143637 h 228600"/>
                <a:gd name="connsiteX9" fmla="*/ 125539 w 161925"/>
                <a:gd name="connsiteY9" fmla="*/ 231839 h 228600"/>
                <a:gd name="connsiteX10" fmla="*/ 163449 w 161925"/>
                <a:gd name="connsiteY10" fmla="*/ 231839 h 228600"/>
                <a:gd name="connsiteX11" fmla="*/ 163449 w 161925"/>
                <a:gd name="connsiteY11" fmla="*/ 105728 h 228600"/>
                <a:gd name="connsiteX12" fmla="*/ 112395 w 161925"/>
                <a:gd name="connsiteY12" fmla="*/ 105728 h 228600"/>
                <a:gd name="connsiteX13" fmla="*/ 138875 w 161925"/>
                <a:gd name="connsiteY13" fmla="*/ 57436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38875" y="57436"/>
                  </a:move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39" y="143637"/>
                  </a:lnTo>
                  <a:lnTo>
                    <a:pt x="125539" y="231839"/>
                  </a:lnTo>
                  <a:lnTo>
                    <a:pt x="163449" y="231839"/>
                  </a:lnTo>
                  <a:lnTo>
                    <a:pt x="163449" y="105728"/>
                  </a:lnTo>
                  <a:lnTo>
                    <a:pt x="112395" y="105728"/>
                  </a:lnTo>
                  <a:cubicBezTo>
                    <a:pt x="128302" y="95536"/>
                    <a:pt x="138875" y="77724"/>
                    <a:pt x="138875" y="57436"/>
                  </a:cubicBez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BE16CDA4-82FD-42F8-BB27-820625FA0207}"/>
                </a:ext>
              </a:extLst>
            </p:cNvPr>
            <p:cNvSpPr/>
            <p:nvPr/>
          </p:nvSpPr>
          <p:spPr bwMode="gray">
            <a:xfrm>
              <a:off x="7767542" y="2971800"/>
              <a:ext cx="161925" cy="228600"/>
            </a:xfrm>
            <a:custGeom>
              <a:avLst/>
              <a:gdLst>
                <a:gd name="connsiteX0" fmla="*/ 138875 w 161925"/>
                <a:gd name="connsiteY0" fmla="*/ 57436 h 228600"/>
                <a:gd name="connsiteX1" fmla="*/ 81725 w 161925"/>
                <a:gd name="connsiteY1" fmla="*/ 0 h 228600"/>
                <a:gd name="connsiteX2" fmla="*/ 24575 w 161925"/>
                <a:gd name="connsiteY2" fmla="*/ 57436 h 228600"/>
                <a:gd name="connsiteX3" fmla="*/ 50959 w 161925"/>
                <a:gd name="connsiteY3" fmla="*/ 105728 h 228600"/>
                <a:gd name="connsiteX4" fmla="*/ 0 w 161925"/>
                <a:gd name="connsiteY4" fmla="*/ 105728 h 228600"/>
                <a:gd name="connsiteX5" fmla="*/ 0 w 161925"/>
                <a:gd name="connsiteY5" fmla="*/ 231839 h 228600"/>
                <a:gd name="connsiteX6" fmla="*/ 37910 w 161925"/>
                <a:gd name="connsiteY6" fmla="*/ 231839 h 228600"/>
                <a:gd name="connsiteX7" fmla="*/ 37910 w 161925"/>
                <a:gd name="connsiteY7" fmla="*/ 143637 h 228600"/>
                <a:gd name="connsiteX8" fmla="*/ 125540 w 161925"/>
                <a:gd name="connsiteY8" fmla="*/ 143637 h 228600"/>
                <a:gd name="connsiteX9" fmla="*/ 125540 w 161925"/>
                <a:gd name="connsiteY9" fmla="*/ 231839 h 228600"/>
                <a:gd name="connsiteX10" fmla="*/ 163449 w 161925"/>
                <a:gd name="connsiteY10" fmla="*/ 231839 h 228600"/>
                <a:gd name="connsiteX11" fmla="*/ 163449 w 161925"/>
                <a:gd name="connsiteY11" fmla="*/ 105728 h 228600"/>
                <a:gd name="connsiteX12" fmla="*/ 112395 w 161925"/>
                <a:gd name="connsiteY12" fmla="*/ 105728 h 228600"/>
                <a:gd name="connsiteX13" fmla="*/ 138875 w 161925"/>
                <a:gd name="connsiteY13" fmla="*/ 57436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38875" y="57436"/>
                  </a:move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40" y="143637"/>
                  </a:lnTo>
                  <a:lnTo>
                    <a:pt x="125540" y="231839"/>
                  </a:lnTo>
                  <a:lnTo>
                    <a:pt x="163449" y="231839"/>
                  </a:lnTo>
                  <a:lnTo>
                    <a:pt x="163449" y="105728"/>
                  </a:lnTo>
                  <a:lnTo>
                    <a:pt x="112395" y="105728"/>
                  </a:lnTo>
                  <a:cubicBezTo>
                    <a:pt x="128302" y="95536"/>
                    <a:pt x="138875" y="77724"/>
                    <a:pt x="138875" y="57436"/>
                  </a:cubicBez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B101BE86-724B-4D1B-8867-73B92BF4B020}"/>
                </a:ext>
              </a:extLst>
            </p:cNvPr>
            <p:cNvSpPr/>
            <p:nvPr/>
          </p:nvSpPr>
          <p:spPr bwMode="gray">
            <a:xfrm>
              <a:off x="7966424" y="2971800"/>
              <a:ext cx="161925" cy="228600"/>
            </a:xfrm>
            <a:custGeom>
              <a:avLst/>
              <a:gdLst>
                <a:gd name="connsiteX0" fmla="*/ 112490 w 161925"/>
                <a:gd name="connsiteY0" fmla="*/ 105728 h 228600"/>
                <a:gd name="connsiteX1" fmla="*/ 138875 w 161925"/>
                <a:gd name="connsiteY1" fmla="*/ 57436 h 228600"/>
                <a:gd name="connsiteX2" fmla="*/ 81725 w 161925"/>
                <a:gd name="connsiteY2" fmla="*/ 0 h 228600"/>
                <a:gd name="connsiteX3" fmla="*/ 24575 w 161925"/>
                <a:gd name="connsiteY3" fmla="*/ 57436 h 228600"/>
                <a:gd name="connsiteX4" fmla="*/ 50959 w 161925"/>
                <a:gd name="connsiteY4" fmla="*/ 105728 h 228600"/>
                <a:gd name="connsiteX5" fmla="*/ 0 w 161925"/>
                <a:gd name="connsiteY5" fmla="*/ 105728 h 228600"/>
                <a:gd name="connsiteX6" fmla="*/ 0 w 161925"/>
                <a:gd name="connsiteY6" fmla="*/ 231839 h 228600"/>
                <a:gd name="connsiteX7" fmla="*/ 37910 w 161925"/>
                <a:gd name="connsiteY7" fmla="*/ 231839 h 228600"/>
                <a:gd name="connsiteX8" fmla="*/ 37910 w 161925"/>
                <a:gd name="connsiteY8" fmla="*/ 143637 h 228600"/>
                <a:gd name="connsiteX9" fmla="*/ 125539 w 161925"/>
                <a:gd name="connsiteY9" fmla="*/ 143637 h 228600"/>
                <a:gd name="connsiteX10" fmla="*/ 125539 w 161925"/>
                <a:gd name="connsiteY10" fmla="*/ 231839 h 228600"/>
                <a:gd name="connsiteX11" fmla="*/ 163449 w 161925"/>
                <a:gd name="connsiteY11" fmla="*/ 231839 h 228600"/>
                <a:gd name="connsiteX12" fmla="*/ 163449 w 161925"/>
                <a:gd name="connsiteY12" fmla="*/ 105728 h 228600"/>
                <a:gd name="connsiteX13" fmla="*/ 112490 w 161925"/>
                <a:gd name="connsiteY13" fmla="*/ 105728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12490" y="105728"/>
                  </a:moveTo>
                  <a:cubicBezTo>
                    <a:pt x="128302" y="95536"/>
                    <a:pt x="138875" y="77724"/>
                    <a:pt x="138875" y="57436"/>
                  </a:cubicBez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39" y="143637"/>
                  </a:lnTo>
                  <a:lnTo>
                    <a:pt x="125539" y="231839"/>
                  </a:lnTo>
                  <a:lnTo>
                    <a:pt x="163449" y="231839"/>
                  </a:lnTo>
                  <a:lnTo>
                    <a:pt x="163449" y="105728"/>
                  </a:lnTo>
                  <a:lnTo>
                    <a:pt x="112490" y="105728"/>
                  </a:ln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a:p>
          </p:txBody>
        </p:sp>
      </p:grpSp>
      <p:grpSp>
        <p:nvGrpSpPr>
          <p:cNvPr id="51" name="Group 50">
            <a:extLst>
              <a:ext uri="{FF2B5EF4-FFF2-40B4-BE49-F238E27FC236}">
                <a16:creationId xmlns:a16="http://schemas.microsoft.com/office/drawing/2014/main" id="{D1B8E59A-F6B4-438A-8421-95508134A21D}"/>
              </a:ext>
            </a:extLst>
          </p:cNvPr>
          <p:cNvGrpSpPr/>
          <p:nvPr/>
        </p:nvGrpSpPr>
        <p:grpSpPr>
          <a:xfrm>
            <a:off x="4243523" y="5967740"/>
            <a:ext cx="3704954" cy="744209"/>
            <a:chOff x="4441371" y="5967740"/>
            <a:chExt cx="3704954" cy="744209"/>
          </a:xfrm>
        </p:grpSpPr>
        <p:sp>
          <p:nvSpPr>
            <p:cNvPr id="52" name="Rectangle 51">
              <a:extLst>
                <a:ext uri="{FF2B5EF4-FFF2-40B4-BE49-F238E27FC236}">
                  <a16:creationId xmlns:a16="http://schemas.microsoft.com/office/drawing/2014/main" id="{0EB676FE-73A1-4F97-A4B2-9C145768C6C2}"/>
                </a:ext>
              </a:extLst>
            </p:cNvPr>
            <p:cNvSpPr/>
            <p:nvPr/>
          </p:nvSpPr>
          <p:spPr>
            <a:xfrm>
              <a:off x="4441371" y="5967740"/>
              <a:ext cx="3704954" cy="74420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53" name="Straight Arrow Connector 52">
              <a:extLst>
                <a:ext uri="{FF2B5EF4-FFF2-40B4-BE49-F238E27FC236}">
                  <a16:creationId xmlns:a16="http://schemas.microsoft.com/office/drawing/2014/main" id="{FBF0BFC9-0E95-4183-9124-7B3BF9C964F8}"/>
                </a:ext>
              </a:extLst>
            </p:cNvPr>
            <p:cNvCxnSpPr>
              <a:cxnSpLocks/>
            </p:cNvCxnSpPr>
            <p:nvPr/>
          </p:nvCxnSpPr>
          <p:spPr>
            <a:xfrm>
              <a:off x="5287961" y="6112935"/>
              <a:ext cx="822960" cy="0"/>
            </a:xfrm>
            <a:prstGeom prst="straightConnector1">
              <a:avLst/>
            </a:prstGeom>
            <a:noFill/>
            <a:ln w="12700" cap="flat" cmpd="sng">
              <a:solidFill>
                <a:srgbClr val="6F7878"/>
              </a:solidFill>
              <a:prstDash val="solid"/>
              <a:round/>
              <a:headEnd type="none" w="lg" len="med"/>
              <a:tailEnd type="triangle" w="lg" len="lg"/>
            </a:ln>
          </p:spPr>
        </p:cxnSp>
        <p:cxnSp>
          <p:nvCxnSpPr>
            <p:cNvPr id="54" name="Straight Arrow Connector 53">
              <a:extLst>
                <a:ext uri="{FF2B5EF4-FFF2-40B4-BE49-F238E27FC236}">
                  <a16:creationId xmlns:a16="http://schemas.microsoft.com/office/drawing/2014/main" id="{584B65B8-9945-4B8F-8F04-B0D01A162F10}"/>
                </a:ext>
              </a:extLst>
            </p:cNvPr>
            <p:cNvCxnSpPr>
              <a:cxnSpLocks/>
            </p:cNvCxnSpPr>
            <p:nvPr/>
          </p:nvCxnSpPr>
          <p:spPr>
            <a:xfrm>
              <a:off x="5287961" y="6340908"/>
              <a:ext cx="822960" cy="0"/>
            </a:xfrm>
            <a:prstGeom prst="straightConnector1">
              <a:avLst/>
            </a:prstGeom>
            <a:noFill/>
            <a:ln w="12700" cap="flat" cmpd="sng">
              <a:solidFill>
                <a:srgbClr val="6F7878"/>
              </a:solidFill>
              <a:prstDash val="dash"/>
              <a:round/>
              <a:headEnd type="none" w="lg" len="med"/>
              <a:tailEnd type="triangle" w="lg" len="lg"/>
            </a:ln>
          </p:spPr>
        </p:cxnSp>
        <p:sp>
          <p:nvSpPr>
            <p:cNvPr id="55" name="TextBox 54">
              <a:extLst>
                <a:ext uri="{FF2B5EF4-FFF2-40B4-BE49-F238E27FC236}">
                  <a16:creationId xmlns:a16="http://schemas.microsoft.com/office/drawing/2014/main" id="{B186718D-E8F4-41D3-AE97-BB93626D7529}"/>
                </a:ext>
              </a:extLst>
            </p:cNvPr>
            <p:cNvSpPr txBox="1"/>
            <p:nvPr/>
          </p:nvSpPr>
          <p:spPr>
            <a:xfrm>
              <a:off x="6202455" y="5995734"/>
              <a:ext cx="1097280" cy="234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b="0"/>
                <a:t>Primary Input</a:t>
              </a:r>
              <a:endParaRPr lang="en-US" b="0" i="1" kern="0">
                <a:solidFill>
                  <a:srgbClr val="6F7878"/>
                </a:solidFill>
                <a:ea typeface="Arial Unicode MS"/>
                <a:cs typeface="Arial Unicode MS"/>
              </a:endParaRPr>
            </a:p>
          </p:txBody>
        </p:sp>
        <p:sp>
          <p:nvSpPr>
            <p:cNvPr id="56" name="TextBox 55">
              <a:extLst>
                <a:ext uri="{FF2B5EF4-FFF2-40B4-BE49-F238E27FC236}">
                  <a16:creationId xmlns:a16="http://schemas.microsoft.com/office/drawing/2014/main" id="{93F29644-9302-4034-9EEC-BE7486DC4C28}"/>
                </a:ext>
              </a:extLst>
            </p:cNvPr>
            <p:cNvSpPr txBox="1"/>
            <p:nvPr/>
          </p:nvSpPr>
          <p:spPr>
            <a:xfrm>
              <a:off x="6202455" y="6223707"/>
              <a:ext cx="1097280" cy="234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100" b="1">
                  <a:solidFill>
                    <a:srgbClr val="00285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b="0"/>
                <a:t>Supporting Input</a:t>
              </a:r>
              <a:endParaRPr lang="en-US" b="0" i="1" kern="0">
                <a:solidFill>
                  <a:srgbClr val="6F7878"/>
                </a:solidFill>
                <a:ea typeface="Arial Unicode MS"/>
                <a:cs typeface="Arial Unicode MS"/>
              </a:endParaRPr>
            </a:p>
          </p:txBody>
        </p:sp>
        <p:sp>
          <p:nvSpPr>
            <p:cNvPr id="57" name="Rectangle 56">
              <a:extLst>
                <a:ext uri="{FF2B5EF4-FFF2-40B4-BE49-F238E27FC236}">
                  <a16:creationId xmlns:a16="http://schemas.microsoft.com/office/drawing/2014/main" id="{B131629F-437E-453D-8F1B-C06E6302C15F}"/>
                </a:ext>
              </a:extLst>
            </p:cNvPr>
            <p:cNvSpPr/>
            <p:nvPr/>
          </p:nvSpPr>
          <p:spPr>
            <a:xfrm>
              <a:off x="4475977" y="6493503"/>
              <a:ext cx="3635743" cy="169277"/>
            </a:xfrm>
            <a:prstGeom prst="rect">
              <a:avLst/>
            </a:prstGeom>
          </p:spPr>
          <p:txBody>
            <a:bodyPr wrap="square" lIns="0" tIns="0" rIns="0" bIns="0">
              <a:spAutoFit/>
            </a:bodyPr>
            <a:lstStyle/>
            <a:p>
              <a:pPr marL="0" lvl="1"/>
              <a:r>
                <a:rPr lang="en-US" sz="1100" b="1" i="1" kern="0">
                  <a:solidFill>
                    <a:srgbClr val="06C4B0"/>
                  </a:solidFill>
                  <a:ea typeface="Arial Unicode MS"/>
                  <a:cs typeface="Arial Unicode MS"/>
                </a:rPr>
                <a:t>Green</a:t>
              </a:r>
              <a:r>
                <a:rPr lang="en-US" sz="1050" i="1" kern="0">
                  <a:solidFill>
                    <a:srgbClr val="6F7878"/>
                  </a:solidFill>
                  <a:ea typeface="Arial Unicode MS"/>
                  <a:cs typeface="Arial Unicode MS"/>
                </a:rPr>
                <a:t> icons denote actions </a:t>
              </a:r>
              <a:r>
                <a:rPr lang="en-US" sz="1050" i="1" kern="0">
                  <a:ea typeface="Arial Unicode MS"/>
                  <a:cs typeface="Arial Unicode MS"/>
                </a:rPr>
                <a:t>|</a:t>
              </a:r>
              <a:r>
                <a:rPr lang="en-US" sz="1050" i="1" kern="0">
                  <a:solidFill>
                    <a:srgbClr val="6F7878"/>
                  </a:solidFill>
                  <a:ea typeface="Arial Unicode MS"/>
                  <a:cs typeface="Arial Unicode MS"/>
                </a:rPr>
                <a:t> </a:t>
              </a:r>
              <a:r>
                <a:rPr lang="en-US" sz="1050" b="1" i="1" kern="0">
                  <a:solidFill>
                    <a:srgbClr val="002856"/>
                  </a:solidFill>
                  <a:ea typeface="Arial Unicode MS"/>
                  <a:cs typeface="Arial Unicode MS"/>
                </a:rPr>
                <a:t>Blue</a:t>
              </a:r>
              <a:r>
                <a:rPr lang="en-US" sz="1050" i="1" kern="0">
                  <a:solidFill>
                    <a:srgbClr val="6F7878"/>
                  </a:solidFill>
                  <a:ea typeface="Arial Unicode MS"/>
                  <a:cs typeface="Arial Unicode MS"/>
                </a:rPr>
                <a:t> icons denote deliverables</a:t>
              </a:r>
            </a:p>
          </p:txBody>
        </p:sp>
      </p:grpSp>
      <p:sp>
        <p:nvSpPr>
          <p:cNvPr id="60" name="Rectangle 59">
            <a:extLst>
              <a:ext uri="{FF2B5EF4-FFF2-40B4-BE49-F238E27FC236}">
                <a16:creationId xmlns:a16="http://schemas.microsoft.com/office/drawing/2014/main" id="{42325D22-EBE7-43C1-A8F1-AB40AF59AD84}"/>
              </a:ext>
            </a:extLst>
          </p:cNvPr>
          <p:cNvSpPr/>
          <p:nvPr/>
        </p:nvSpPr>
        <p:spPr>
          <a:xfrm>
            <a:off x="504014" y="6046571"/>
            <a:ext cx="3647975" cy="230832"/>
          </a:xfrm>
          <a:prstGeom prst="rect">
            <a:avLst/>
          </a:prstGeom>
        </p:spPr>
        <p:txBody>
          <a:bodyPr wrap="square">
            <a:spAutoFit/>
          </a:bodyPr>
          <a:lstStyle/>
          <a:p>
            <a:r>
              <a:rPr lang="en-US" sz="900" i="1" kern="0">
                <a:solidFill>
                  <a:srgbClr val="6F7878"/>
                </a:solidFill>
                <a:ea typeface="Arial Unicode MS"/>
                <a:cs typeface="Arial Unicode MS"/>
              </a:rPr>
              <a:t>* Note: A 71% response rate is an above average response rate.</a:t>
            </a:r>
            <a:endParaRPr lang="en-US" sz="900"/>
          </a:p>
        </p:txBody>
      </p:sp>
    </p:spTree>
    <p:extLst>
      <p:ext uri="{BB962C8B-B14F-4D97-AF65-F5344CB8AC3E}">
        <p14:creationId xmlns:p14="http://schemas.microsoft.com/office/powerpoint/2010/main" val="4292887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75232E-470F-44BA-9CA5-12E148D61161}"/>
              </a:ext>
            </a:extLst>
          </p:cNvPr>
          <p:cNvGrpSpPr/>
          <p:nvPr/>
        </p:nvGrpSpPr>
        <p:grpSpPr>
          <a:xfrm>
            <a:off x="1677292" y="1789117"/>
            <a:ext cx="2437010" cy="1433473"/>
            <a:chOff x="730877" y="1538327"/>
            <a:chExt cx="2437010" cy="1433473"/>
          </a:xfrm>
        </p:grpSpPr>
        <p:sp>
          <p:nvSpPr>
            <p:cNvPr id="3" name="Rectangle 2">
              <a:extLst>
                <a:ext uri="{FF2B5EF4-FFF2-40B4-BE49-F238E27FC236}">
                  <a16:creationId xmlns:a16="http://schemas.microsoft.com/office/drawing/2014/main" id="{41DCBE5F-11F4-45AB-A2D6-B4E9E3E889F3}"/>
                </a:ext>
              </a:extLst>
            </p:cNvPr>
            <p:cNvSpPr/>
            <p:nvPr/>
          </p:nvSpPr>
          <p:spPr bwMode="auto">
            <a:xfrm>
              <a:off x="959477" y="1761476"/>
              <a:ext cx="2208410" cy="1210324"/>
            </a:xfrm>
            <a:prstGeom prst="rect">
              <a:avLst/>
            </a:prstGeom>
            <a:solidFill>
              <a:srgbClr val="002856"/>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spcBef>
                  <a:spcPct val="30000"/>
                </a:spcBef>
                <a:spcAft>
                  <a:spcPct val="10000"/>
                </a:spcAft>
              </a:pPr>
              <a:r>
                <a:rPr lang="en-US" sz="1600" b="1">
                  <a:solidFill>
                    <a:schemeClr val="bg1"/>
                  </a:solidFill>
                  <a:latin typeface="+mj-lt"/>
                </a:rPr>
                <a:t>Technological Integration Barriers</a:t>
              </a:r>
            </a:p>
          </p:txBody>
        </p:sp>
        <p:sp>
          <p:nvSpPr>
            <p:cNvPr id="4" name="Rectangle: Rounded Corners 3">
              <a:extLst>
                <a:ext uri="{FF2B5EF4-FFF2-40B4-BE49-F238E27FC236}">
                  <a16:creationId xmlns:a16="http://schemas.microsoft.com/office/drawing/2014/main" id="{E1167BF5-3A89-4292-8E70-5187C7E84E0B}"/>
                </a:ext>
              </a:extLst>
            </p:cNvPr>
            <p:cNvSpPr/>
            <p:nvPr/>
          </p:nvSpPr>
          <p:spPr bwMode="auto">
            <a:xfrm>
              <a:off x="730877" y="1538327"/>
              <a:ext cx="457200" cy="457200"/>
            </a:xfrm>
            <a:prstGeom prst="roundRect">
              <a:avLst/>
            </a:prstGeom>
            <a:solidFill>
              <a:schemeClr val="bg1"/>
            </a:solidFill>
            <a:ln w="19050">
              <a:solidFill>
                <a:srgbClr val="35557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2856"/>
                  </a:solidFill>
                  <a:latin typeface="+mj-lt"/>
                </a:rPr>
                <a:t>1</a:t>
              </a:r>
            </a:p>
          </p:txBody>
        </p:sp>
      </p:grpSp>
      <p:sp>
        <p:nvSpPr>
          <p:cNvPr id="5" name="Title 2">
            <a:extLst>
              <a:ext uri="{FF2B5EF4-FFF2-40B4-BE49-F238E27FC236}">
                <a16:creationId xmlns:a16="http://schemas.microsoft.com/office/drawing/2014/main" id="{596DD1E0-DD7F-4B65-BED4-4B75827184AD}"/>
              </a:ext>
            </a:extLst>
          </p:cNvPr>
          <p:cNvSpPr txBox="1">
            <a:spLocks/>
          </p:cNvSpPr>
          <p:nvPr/>
        </p:nvSpPr>
        <p:spPr bwMode="gray">
          <a:xfrm>
            <a:off x="460375" y="1193247"/>
            <a:ext cx="11272838" cy="424732"/>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spcAft>
                <a:spcPts val="1200"/>
              </a:spcAft>
              <a:buNone/>
              <a:defRPr lang="en-US" sz="2400" kern="1200" dirty="0">
                <a:solidFill>
                  <a:schemeClr val="tx2"/>
                </a:solidFill>
                <a:latin typeface="+mj-lt"/>
                <a:ea typeface="+mj-ea"/>
                <a:cs typeface="+mj-cs"/>
              </a:defRPr>
            </a:lvl1pPr>
          </a:lstStyle>
          <a:p>
            <a:r>
              <a:rPr lang="en-US" sz="1800" b="1">
                <a:solidFill>
                  <a:srgbClr val="002856"/>
                </a:solidFill>
                <a:cs typeface="Arial" panose="020B0604020202020204" pitchFamily="34" charset="0"/>
              </a:rPr>
              <a:t>Disparate systems and organizations stifle integration and efficiency</a:t>
            </a:r>
            <a:endParaRPr lang="en-US" sz="1800" b="1">
              <a:solidFill>
                <a:srgbClr val="002856"/>
              </a:solidFill>
            </a:endParaRPr>
          </a:p>
        </p:txBody>
      </p:sp>
      <p:sp>
        <p:nvSpPr>
          <p:cNvPr id="6" name="TextBox 5">
            <a:extLst>
              <a:ext uri="{FF2B5EF4-FFF2-40B4-BE49-F238E27FC236}">
                <a16:creationId xmlns:a16="http://schemas.microsoft.com/office/drawing/2014/main" id="{4CC4A775-D3C8-4921-AB64-59004922E33B}"/>
              </a:ext>
            </a:extLst>
          </p:cNvPr>
          <p:cNvSpPr txBox="1"/>
          <p:nvPr/>
        </p:nvSpPr>
        <p:spPr>
          <a:xfrm>
            <a:off x="457200" y="3601819"/>
            <a:ext cx="11132187" cy="341632"/>
          </a:xfrm>
          <a:prstGeom prst="rect">
            <a:avLst/>
          </a:prstGeom>
        </p:spPr>
        <p:txBody>
          <a:bodyPr vert="horz" wrap="square" lIns="0" tIns="0" rIns="0" bIns="0" rtlCol="0" anchor="ctr" anchorCtr="0">
            <a:noAutofit/>
          </a:bodyPr>
          <a:lstStyle>
            <a:defPPr>
              <a:defRPr lang="en-US"/>
            </a:defPPr>
            <a:lvl1pPr>
              <a:lnSpc>
                <a:spcPct val="90000"/>
              </a:lnSpc>
              <a:spcBef>
                <a:spcPct val="0"/>
              </a:spcBef>
              <a:spcAft>
                <a:spcPts val="1200"/>
              </a:spcAft>
              <a:buNone/>
              <a:defRPr b="1">
                <a:solidFill>
                  <a:srgbClr val="002856"/>
                </a:solidFill>
                <a:latin typeface="+mj-lt"/>
                <a:ea typeface="+mj-ea"/>
                <a:cs typeface="Arial" panose="020B0604020202020204" pitchFamily="34" charset="0"/>
              </a:defRPr>
            </a:lvl1pPr>
          </a:lstStyle>
          <a:p>
            <a:r>
              <a:rPr lang="en-US"/>
              <a:t>Data integrity is a universal need with multifaceted hurdles</a:t>
            </a:r>
          </a:p>
        </p:txBody>
      </p:sp>
      <p:grpSp>
        <p:nvGrpSpPr>
          <p:cNvPr id="7" name="Group 6">
            <a:extLst>
              <a:ext uri="{FF2B5EF4-FFF2-40B4-BE49-F238E27FC236}">
                <a16:creationId xmlns:a16="http://schemas.microsoft.com/office/drawing/2014/main" id="{06DA9E20-F65D-4C5E-B5B7-4C0E6AF20F0C}"/>
              </a:ext>
            </a:extLst>
          </p:cNvPr>
          <p:cNvGrpSpPr/>
          <p:nvPr/>
        </p:nvGrpSpPr>
        <p:grpSpPr>
          <a:xfrm>
            <a:off x="4877495" y="1789117"/>
            <a:ext cx="2437010" cy="1433473"/>
            <a:chOff x="730877" y="1538327"/>
            <a:chExt cx="2437010" cy="1433473"/>
          </a:xfrm>
        </p:grpSpPr>
        <p:sp>
          <p:nvSpPr>
            <p:cNvPr id="8" name="Rectangle 7">
              <a:extLst>
                <a:ext uri="{FF2B5EF4-FFF2-40B4-BE49-F238E27FC236}">
                  <a16:creationId xmlns:a16="http://schemas.microsoft.com/office/drawing/2014/main" id="{E43889EA-4C35-45B2-AB44-5B1D2C1D5383}"/>
                </a:ext>
              </a:extLst>
            </p:cNvPr>
            <p:cNvSpPr/>
            <p:nvPr/>
          </p:nvSpPr>
          <p:spPr bwMode="auto">
            <a:xfrm>
              <a:off x="959477" y="1761476"/>
              <a:ext cx="2208410" cy="1210324"/>
            </a:xfrm>
            <a:prstGeom prst="rect">
              <a:avLst/>
            </a:prstGeom>
            <a:solidFill>
              <a:srgbClr val="002856"/>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pPr>
              <a:r>
                <a:rPr lang="en-US" sz="1600" b="1">
                  <a:solidFill>
                    <a:schemeClr val="bg1"/>
                  </a:solidFill>
                  <a:latin typeface="+mj-lt"/>
                </a:rPr>
                <a:t>Interest in </a:t>
              </a:r>
            </a:p>
            <a:p>
              <a:pPr algn="ctr" fontAlgn="auto">
                <a:lnSpc>
                  <a:spcPct val="90000"/>
                </a:lnSpc>
              </a:pPr>
              <a:r>
                <a:rPr lang="en-US" sz="1600" b="1">
                  <a:solidFill>
                    <a:schemeClr val="bg1"/>
                  </a:solidFill>
                  <a:latin typeface="+mj-lt"/>
                </a:rPr>
                <a:t>Data Sharing</a:t>
              </a:r>
            </a:p>
          </p:txBody>
        </p:sp>
        <p:sp>
          <p:nvSpPr>
            <p:cNvPr id="9" name="Rectangle: Rounded Corners 8">
              <a:extLst>
                <a:ext uri="{FF2B5EF4-FFF2-40B4-BE49-F238E27FC236}">
                  <a16:creationId xmlns:a16="http://schemas.microsoft.com/office/drawing/2014/main" id="{C2E510A7-475E-4DAA-A802-63320FA39FD3}"/>
                </a:ext>
              </a:extLst>
            </p:cNvPr>
            <p:cNvSpPr/>
            <p:nvPr/>
          </p:nvSpPr>
          <p:spPr bwMode="auto">
            <a:xfrm>
              <a:off x="730877" y="1538327"/>
              <a:ext cx="457200" cy="457200"/>
            </a:xfrm>
            <a:prstGeom prst="roundRect">
              <a:avLst/>
            </a:prstGeom>
            <a:solidFill>
              <a:schemeClr val="bg1"/>
            </a:solidFill>
            <a:ln w="19050">
              <a:solidFill>
                <a:srgbClr val="35557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2856"/>
                  </a:solidFill>
                  <a:latin typeface="+mj-lt"/>
                </a:rPr>
                <a:t>2</a:t>
              </a:r>
            </a:p>
          </p:txBody>
        </p:sp>
      </p:grpSp>
      <p:grpSp>
        <p:nvGrpSpPr>
          <p:cNvPr id="10" name="Group 9">
            <a:extLst>
              <a:ext uri="{FF2B5EF4-FFF2-40B4-BE49-F238E27FC236}">
                <a16:creationId xmlns:a16="http://schemas.microsoft.com/office/drawing/2014/main" id="{C02FD90B-58A1-4976-ABF8-B09E5BCF8E8D}"/>
              </a:ext>
            </a:extLst>
          </p:cNvPr>
          <p:cNvGrpSpPr/>
          <p:nvPr/>
        </p:nvGrpSpPr>
        <p:grpSpPr>
          <a:xfrm>
            <a:off x="8077698" y="1789117"/>
            <a:ext cx="2437010" cy="1433473"/>
            <a:chOff x="730877" y="1538327"/>
            <a:chExt cx="2437010" cy="1433473"/>
          </a:xfrm>
        </p:grpSpPr>
        <p:sp>
          <p:nvSpPr>
            <p:cNvPr id="11" name="Rectangle 10">
              <a:extLst>
                <a:ext uri="{FF2B5EF4-FFF2-40B4-BE49-F238E27FC236}">
                  <a16:creationId xmlns:a16="http://schemas.microsoft.com/office/drawing/2014/main" id="{406CADF3-19AF-4926-B873-9AF93F50DCFB}"/>
                </a:ext>
              </a:extLst>
            </p:cNvPr>
            <p:cNvSpPr/>
            <p:nvPr/>
          </p:nvSpPr>
          <p:spPr bwMode="auto">
            <a:xfrm>
              <a:off x="959477" y="1761476"/>
              <a:ext cx="2208410" cy="1210324"/>
            </a:xfrm>
            <a:prstGeom prst="rect">
              <a:avLst/>
            </a:prstGeom>
            <a:solidFill>
              <a:srgbClr val="002856"/>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pPr>
              <a:r>
                <a:rPr lang="en-US" sz="1600" b="1">
                  <a:solidFill>
                    <a:schemeClr val="bg1"/>
                  </a:solidFill>
                  <a:latin typeface="+mj-lt"/>
                </a:rPr>
                <a:t>Vision for </a:t>
              </a:r>
            </a:p>
            <a:p>
              <a:pPr algn="ctr" fontAlgn="auto">
                <a:lnSpc>
                  <a:spcPct val="90000"/>
                </a:lnSpc>
              </a:pPr>
              <a:r>
                <a:rPr lang="en-US" sz="1600" b="1">
                  <a:solidFill>
                    <a:schemeClr val="bg1"/>
                  </a:solidFill>
                  <a:latin typeface="+mj-lt"/>
                </a:rPr>
                <a:t>Data Sharing</a:t>
              </a:r>
            </a:p>
          </p:txBody>
        </p:sp>
        <p:sp>
          <p:nvSpPr>
            <p:cNvPr id="12" name="Rectangle: Rounded Corners 11">
              <a:extLst>
                <a:ext uri="{FF2B5EF4-FFF2-40B4-BE49-F238E27FC236}">
                  <a16:creationId xmlns:a16="http://schemas.microsoft.com/office/drawing/2014/main" id="{1A05B5A5-45DF-466D-9AE0-CF4A0F185026}"/>
                </a:ext>
              </a:extLst>
            </p:cNvPr>
            <p:cNvSpPr/>
            <p:nvPr/>
          </p:nvSpPr>
          <p:spPr bwMode="auto">
            <a:xfrm>
              <a:off x="730877" y="1538327"/>
              <a:ext cx="457200" cy="457200"/>
            </a:xfrm>
            <a:prstGeom prst="roundRect">
              <a:avLst/>
            </a:prstGeom>
            <a:solidFill>
              <a:schemeClr val="bg1"/>
            </a:solidFill>
            <a:ln w="19050">
              <a:solidFill>
                <a:srgbClr val="35557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2856"/>
                  </a:solidFill>
                  <a:latin typeface="+mj-lt"/>
                </a:rPr>
                <a:t>3</a:t>
              </a:r>
            </a:p>
          </p:txBody>
        </p:sp>
      </p:grpSp>
      <p:grpSp>
        <p:nvGrpSpPr>
          <p:cNvPr id="13" name="Group 12">
            <a:extLst>
              <a:ext uri="{FF2B5EF4-FFF2-40B4-BE49-F238E27FC236}">
                <a16:creationId xmlns:a16="http://schemas.microsoft.com/office/drawing/2014/main" id="{EF123557-AAAD-498B-8113-995AD344F057}"/>
              </a:ext>
            </a:extLst>
          </p:cNvPr>
          <p:cNvGrpSpPr/>
          <p:nvPr/>
        </p:nvGrpSpPr>
        <p:grpSpPr>
          <a:xfrm>
            <a:off x="460354" y="4191993"/>
            <a:ext cx="2437010" cy="1433473"/>
            <a:chOff x="730877" y="1538327"/>
            <a:chExt cx="2437010" cy="1433473"/>
          </a:xfrm>
        </p:grpSpPr>
        <p:sp>
          <p:nvSpPr>
            <p:cNvPr id="14" name="Rectangle 13">
              <a:extLst>
                <a:ext uri="{FF2B5EF4-FFF2-40B4-BE49-F238E27FC236}">
                  <a16:creationId xmlns:a16="http://schemas.microsoft.com/office/drawing/2014/main" id="{C7920F6B-5952-4E2F-9BB1-BB21FC98B13C}"/>
                </a:ext>
              </a:extLst>
            </p:cNvPr>
            <p:cNvSpPr/>
            <p:nvPr/>
          </p:nvSpPr>
          <p:spPr bwMode="auto">
            <a:xfrm>
              <a:off x="959477" y="1761476"/>
              <a:ext cx="2208410" cy="1210324"/>
            </a:xfrm>
            <a:prstGeom prst="rect">
              <a:avLst/>
            </a:prstGeom>
            <a:solidFill>
              <a:srgbClr val="004D6C"/>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spcBef>
                  <a:spcPct val="30000"/>
                </a:spcBef>
                <a:spcAft>
                  <a:spcPct val="10000"/>
                </a:spcAft>
              </a:pPr>
              <a:r>
                <a:rPr lang="en-US" sz="1600" b="1">
                  <a:solidFill>
                    <a:schemeClr val="bg1"/>
                  </a:solidFill>
                  <a:latin typeface="+mj-lt"/>
                </a:rPr>
                <a:t>Unique Identifier</a:t>
              </a:r>
            </a:p>
          </p:txBody>
        </p:sp>
        <p:sp>
          <p:nvSpPr>
            <p:cNvPr id="15" name="Rectangle: Rounded Corners 14">
              <a:extLst>
                <a:ext uri="{FF2B5EF4-FFF2-40B4-BE49-F238E27FC236}">
                  <a16:creationId xmlns:a16="http://schemas.microsoft.com/office/drawing/2014/main" id="{E2517335-79C6-4D59-A646-FDE84768A0C4}"/>
                </a:ext>
              </a:extLst>
            </p:cNvPr>
            <p:cNvSpPr/>
            <p:nvPr/>
          </p:nvSpPr>
          <p:spPr bwMode="auto">
            <a:xfrm>
              <a:off x="730877" y="1538327"/>
              <a:ext cx="457200" cy="457200"/>
            </a:xfrm>
            <a:prstGeom prst="roundRect">
              <a:avLst/>
            </a:prstGeom>
            <a:solidFill>
              <a:schemeClr val="bg1"/>
            </a:solidFill>
            <a:ln w="19050">
              <a:solidFill>
                <a:srgbClr val="004D6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4D6C"/>
                  </a:solidFill>
                  <a:latin typeface="+mj-lt"/>
                </a:rPr>
                <a:t>4</a:t>
              </a:r>
            </a:p>
          </p:txBody>
        </p:sp>
      </p:grpSp>
      <p:grpSp>
        <p:nvGrpSpPr>
          <p:cNvPr id="16" name="Group 15">
            <a:extLst>
              <a:ext uri="{FF2B5EF4-FFF2-40B4-BE49-F238E27FC236}">
                <a16:creationId xmlns:a16="http://schemas.microsoft.com/office/drawing/2014/main" id="{53D84FB1-AC7D-487A-AEE6-6466B894BDEB}"/>
              </a:ext>
            </a:extLst>
          </p:cNvPr>
          <p:cNvGrpSpPr/>
          <p:nvPr/>
        </p:nvGrpSpPr>
        <p:grpSpPr>
          <a:xfrm>
            <a:off x="3405637" y="4191993"/>
            <a:ext cx="2437010" cy="1433473"/>
            <a:chOff x="730877" y="1538327"/>
            <a:chExt cx="2437010" cy="1433473"/>
          </a:xfrm>
        </p:grpSpPr>
        <p:sp>
          <p:nvSpPr>
            <p:cNvPr id="17" name="Rectangle 16">
              <a:extLst>
                <a:ext uri="{FF2B5EF4-FFF2-40B4-BE49-F238E27FC236}">
                  <a16:creationId xmlns:a16="http://schemas.microsoft.com/office/drawing/2014/main" id="{5DF7AD9F-AB89-4FCB-BAB3-9A08C4E0816D}"/>
                </a:ext>
              </a:extLst>
            </p:cNvPr>
            <p:cNvSpPr/>
            <p:nvPr/>
          </p:nvSpPr>
          <p:spPr bwMode="auto">
            <a:xfrm>
              <a:off x="959477" y="1761476"/>
              <a:ext cx="2208410" cy="1210324"/>
            </a:xfrm>
            <a:prstGeom prst="rect">
              <a:avLst/>
            </a:prstGeom>
            <a:solidFill>
              <a:srgbClr val="004D6C"/>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a:lnSpc>
                  <a:spcPct val="90000"/>
                </a:lnSpc>
              </a:pPr>
              <a:r>
                <a:rPr lang="en-US" sz="1600" b="1">
                  <a:solidFill>
                    <a:schemeClr val="bg1"/>
                  </a:solidFill>
                  <a:latin typeface="+mj-lt"/>
                </a:rPr>
                <a:t>Adherence to</a:t>
              </a:r>
            </a:p>
            <a:p>
              <a:pPr algn="ctr">
                <a:lnSpc>
                  <a:spcPct val="90000"/>
                </a:lnSpc>
              </a:pPr>
              <a:r>
                <a:rPr lang="en-US" sz="1600" b="1">
                  <a:solidFill>
                    <a:schemeClr val="bg1"/>
                  </a:solidFill>
                  <a:latin typeface="+mj-lt"/>
                </a:rPr>
                <a:t>Reform Policies</a:t>
              </a:r>
            </a:p>
          </p:txBody>
        </p:sp>
        <p:sp>
          <p:nvSpPr>
            <p:cNvPr id="18" name="Rectangle: Rounded Corners 17">
              <a:extLst>
                <a:ext uri="{FF2B5EF4-FFF2-40B4-BE49-F238E27FC236}">
                  <a16:creationId xmlns:a16="http://schemas.microsoft.com/office/drawing/2014/main" id="{652C08FC-DEFE-4DBE-8FC7-0572D7033981}"/>
                </a:ext>
              </a:extLst>
            </p:cNvPr>
            <p:cNvSpPr/>
            <p:nvPr/>
          </p:nvSpPr>
          <p:spPr bwMode="auto">
            <a:xfrm>
              <a:off x="730877" y="1538327"/>
              <a:ext cx="457200" cy="457200"/>
            </a:xfrm>
            <a:prstGeom prst="roundRect">
              <a:avLst/>
            </a:prstGeom>
            <a:solidFill>
              <a:schemeClr val="bg1"/>
            </a:solidFill>
            <a:ln w="19050">
              <a:solidFill>
                <a:srgbClr val="004D6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4D6C"/>
                  </a:solidFill>
                  <a:latin typeface="+mj-lt"/>
                </a:rPr>
                <a:t>5</a:t>
              </a:r>
            </a:p>
          </p:txBody>
        </p:sp>
      </p:grpSp>
      <p:grpSp>
        <p:nvGrpSpPr>
          <p:cNvPr id="19" name="Group 18">
            <a:extLst>
              <a:ext uri="{FF2B5EF4-FFF2-40B4-BE49-F238E27FC236}">
                <a16:creationId xmlns:a16="http://schemas.microsoft.com/office/drawing/2014/main" id="{5D596B57-4220-4B12-8E3B-F5E2F5BFFA36}"/>
              </a:ext>
            </a:extLst>
          </p:cNvPr>
          <p:cNvGrpSpPr/>
          <p:nvPr/>
        </p:nvGrpSpPr>
        <p:grpSpPr>
          <a:xfrm>
            <a:off x="6350920" y="4191993"/>
            <a:ext cx="2437010" cy="1433473"/>
            <a:chOff x="730877" y="1538327"/>
            <a:chExt cx="2437010" cy="1433473"/>
          </a:xfrm>
        </p:grpSpPr>
        <p:sp>
          <p:nvSpPr>
            <p:cNvPr id="20" name="Rectangle 19">
              <a:extLst>
                <a:ext uri="{FF2B5EF4-FFF2-40B4-BE49-F238E27FC236}">
                  <a16:creationId xmlns:a16="http://schemas.microsoft.com/office/drawing/2014/main" id="{8794A239-79E7-4897-B4DC-8AA549BF5AF4}"/>
                </a:ext>
              </a:extLst>
            </p:cNvPr>
            <p:cNvSpPr/>
            <p:nvPr/>
          </p:nvSpPr>
          <p:spPr bwMode="auto">
            <a:xfrm>
              <a:off x="959477" y="1761476"/>
              <a:ext cx="2208410" cy="1210324"/>
            </a:xfrm>
            <a:prstGeom prst="rect">
              <a:avLst/>
            </a:prstGeom>
            <a:solidFill>
              <a:srgbClr val="004D6C"/>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spcBef>
                  <a:spcPct val="30000"/>
                </a:spcBef>
                <a:spcAft>
                  <a:spcPct val="10000"/>
                </a:spcAft>
              </a:pPr>
              <a:r>
                <a:rPr lang="en-US" sz="1600" b="1">
                  <a:solidFill>
                    <a:schemeClr val="bg1"/>
                  </a:solidFill>
                  <a:latin typeface="+mj-lt"/>
                </a:rPr>
                <a:t>D&amp;A Expertise</a:t>
              </a:r>
            </a:p>
          </p:txBody>
        </p:sp>
        <p:sp>
          <p:nvSpPr>
            <p:cNvPr id="21" name="Rectangle: Rounded Corners 20">
              <a:extLst>
                <a:ext uri="{FF2B5EF4-FFF2-40B4-BE49-F238E27FC236}">
                  <a16:creationId xmlns:a16="http://schemas.microsoft.com/office/drawing/2014/main" id="{609DDF48-9C0C-48FB-91EB-EB76A1053E78}"/>
                </a:ext>
              </a:extLst>
            </p:cNvPr>
            <p:cNvSpPr/>
            <p:nvPr/>
          </p:nvSpPr>
          <p:spPr bwMode="auto">
            <a:xfrm>
              <a:off x="730877" y="1538327"/>
              <a:ext cx="457200" cy="457200"/>
            </a:xfrm>
            <a:prstGeom prst="roundRect">
              <a:avLst/>
            </a:prstGeom>
            <a:solidFill>
              <a:schemeClr val="bg1"/>
            </a:solidFill>
            <a:ln w="19050">
              <a:solidFill>
                <a:srgbClr val="004D6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4D6C"/>
                  </a:solidFill>
                  <a:latin typeface="+mj-lt"/>
                </a:rPr>
                <a:t>6</a:t>
              </a:r>
            </a:p>
          </p:txBody>
        </p:sp>
      </p:grpSp>
      <p:grpSp>
        <p:nvGrpSpPr>
          <p:cNvPr id="22" name="Group 21">
            <a:extLst>
              <a:ext uri="{FF2B5EF4-FFF2-40B4-BE49-F238E27FC236}">
                <a16:creationId xmlns:a16="http://schemas.microsoft.com/office/drawing/2014/main" id="{0F6A130A-5FE7-49D8-BE55-CE8365E6636C}"/>
              </a:ext>
            </a:extLst>
          </p:cNvPr>
          <p:cNvGrpSpPr/>
          <p:nvPr/>
        </p:nvGrpSpPr>
        <p:grpSpPr>
          <a:xfrm>
            <a:off x="9296203" y="4191993"/>
            <a:ext cx="2437010" cy="1433473"/>
            <a:chOff x="730877" y="1538327"/>
            <a:chExt cx="2437010" cy="1433473"/>
          </a:xfrm>
        </p:grpSpPr>
        <p:sp>
          <p:nvSpPr>
            <p:cNvPr id="23" name="Rectangle 22">
              <a:extLst>
                <a:ext uri="{FF2B5EF4-FFF2-40B4-BE49-F238E27FC236}">
                  <a16:creationId xmlns:a16="http://schemas.microsoft.com/office/drawing/2014/main" id="{6EEFD6DC-60FB-408E-9450-133E0F81B602}"/>
                </a:ext>
              </a:extLst>
            </p:cNvPr>
            <p:cNvSpPr/>
            <p:nvPr/>
          </p:nvSpPr>
          <p:spPr bwMode="auto">
            <a:xfrm>
              <a:off x="959477" y="1761476"/>
              <a:ext cx="2208410" cy="1210324"/>
            </a:xfrm>
            <a:prstGeom prst="rect">
              <a:avLst/>
            </a:prstGeom>
            <a:solidFill>
              <a:srgbClr val="004D6C"/>
            </a:solidFill>
            <a:ln w="19050">
              <a:solidFill>
                <a:srgbClr val="355578"/>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lnSpc>
                  <a:spcPct val="90000"/>
                </a:lnSpc>
              </a:pPr>
              <a:r>
                <a:rPr lang="en-US" sz="1600" b="1">
                  <a:solidFill>
                    <a:schemeClr val="bg1"/>
                  </a:solidFill>
                  <a:latin typeface="+mj-lt"/>
                </a:rPr>
                <a:t>Nascent</a:t>
              </a:r>
            </a:p>
            <a:p>
              <a:pPr algn="ctr" fontAlgn="auto">
                <a:lnSpc>
                  <a:spcPct val="90000"/>
                </a:lnSpc>
              </a:pPr>
              <a:r>
                <a:rPr lang="en-US" sz="1600" b="1">
                  <a:solidFill>
                    <a:schemeClr val="bg1"/>
                  </a:solidFill>
                  <a:latin typeface="+mj-lt"/>
                </a:rPr>
                <a:t>Governance</a:t>
              </a:r>
            </a:p>
          </p:txBody>
        </p:sp>
        <p:sp>
          <p:nvSpPr>
            <p:cNvPr id="24" name="Rectangle: Rounded Corners 23">
              <a:extLst>
                <a:ext uri="{FF2B5EF4-FFF2-40B4-BE49-F238E27FC236}">
                  <a16:creationId xmlns:a16="http://schemas.microsoft.com/office/drawing/2014/main" id="{369B4EC7-90BA-4A42-9759-E25E9492E6E1}"/>
                </a:ext>
              </a:extLst>
            </p:cNvPr>
            <p:cNvSpPr/>
            <p:nvPr/>
          </p:nvSpPr>
          <p:spPr bwMode="auto">
            <a:xfrm>
              <a:off x="730877" y="1538327"/>
              <a:ext cx="457200" cy="457200"/>
            </a:xfrm>
            <a:prstGeom prst="roundRect">
              <a:avLst/>
            </a:prstGeom>
            <a:solidFill>
              <a:schemeClr val="bg1"/>
            </a:solidFill>
            <a:ln w="19050">
              <a:solidFill>
                <a:srgbClr val="004D6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r>
                <a:rPr lang="en-US" sz="2000">
                  <a:solidFill>
                    <a:srgbClr val="004D6C"/>
                  </a:solidFill>
                  <a:latin typeface="+mj-lt"/>
                </a:rPr>
                <a:t>7</a:t>
              </a:r>
            </a:p>
          </p:txBody>
        </p:sp>
      </p:grpSp>
      <p:sp>
        <p:nvSpPr>
          <p:cNvPr id="25" name="TextBox 24">
            <a:extLst>
              <a:ext uri="{FF2B5EF4-FFF2-40B4-BE49-F238E27FC236}">
                <a16:creationId xmlns:a16="http://schemas.microsoft.com/office/drawing/2014/main" id="{EBAE9086-8307-4AD6-82EC-5ABCC5E4F2D2}"/>
              </a:ext>
            </a:extLst>
          </p:cNvPr>
          <p:cNvSpPr txBox="1"/>
          <p:nvPr/>
        </p:nvSpPr>
        <p:spPr>
          <a:xfrm>
            <a:off x="688954" y="5927291"/>
            <a:ext cx="7548664" cy="169277"/>
          </a:xfrm>
          <a:prstGeom prst="rect">
            <a:avLst/>
          </a:prstGeom>
          <a:noFill/>
        </p:spPr>
        <p:txBody>
          <a:bodyPr wrap="square" lIns="0" tIns="0" rIns="0" bIns="0" rtlCol="0">
            <a:spAutoFit/>
          </a:bodyPr>
          <a:lstStyle/>
          <a:p>
            <a:pPr algn="l"/>
            <a:r>
              <a:rPr lang="en-US" sz="1100" i="1" dirty="0">
                <a:solidFill>
                  <a:srgbClr val="6F7878"/>
                </a:solidFill>
              </a:rPr>
              <a:t>Note 1: Findings are not listed in order of priority, rank or importance; numbers included for reference only.</a:t>
            </a:r>
          </a:p>
        </p:txBody>
      </p:sp>
      <p:sp>
        <p:nvSpPr>
          <p:cNvPr id="28" name="Title 27">
            <a:extLst>
              <a:ext uri="{FF2B5EF4-FFF2-40B4-BE49-F238E27FC236}">
                <a16:creationId xmlns:a16="http://schemas.microsoft.com/office/drawing/2014/main" id="{0370B9AC-E4AF-43B5-96F1-0E112EC7928F}"/>
              </a:ext>
            </a:extLst>
          </p:cNvPr>
          <p:cNvSpPr>
            <a:spLocks noGrp="1"/>
          </p:cNvSpPr>
          <p:nvPr>
            <p:ph type="title"/>
          </p:nvPr>
        </p:nvSpPr>
        <p:spPr/>
        <p:txBody>
          <a:bodyPr/>
          <a:lstStyle/>
          <a:p>
            <a:r>
              <a:rPr lang="en-US"/>
              <a:t>Key Discovery Findings and Implications Summary</a:t>
            </a:r>
          </a:p>
        </p:txBody>
      </p:sp>
    </p:spTree>
    <p:extLst>
      <p:ext uri="{BB962C8B-B14F-4D97-AF65-F5344CB8AC3E}">
        <p14:creationId xmlns:p14="http://schemas.microsoft.com/office/powerpoint/2010/main" val="2616762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8B27E3-56D5-4D04-9750-BD0DF4D24B27}"/>
              </a:ext>
            </a:extLst>
          </p:cNvPr>
          <p:cNvGrpSpPr/>
          <p:nvPr/>
        </p:nvGrpSpPr>
        <p:grpSpPr>
          <a:xfrm>
            <a:off x="0" y="1097889"/>
            <a:ext cx="12192000" cy="500137"/>
            <a:chOff x="0" y="974319"/>
            <a:chExt cx="12192000" cy="500137"/>
          </a:xfrm>
        </p:grpSpPr>
        <p:cxnSp>
          <p:nvCxnSpPr>
            <p:cNvPr id="3" name="Google Shape;383;p6">
              <a:extLst>
                <a:ext uri="{FF2B5EF4-FFF2-40B4-BE49-F238E27FC236}">
                  <a16:creationId xmlns:a16="http://schemas.microsoft.com/office/drawing/2014/main" id="{E43B717E-F198-43D3-AE5B-E262E0027FEE}"/>
                </a:ext>
              </a:extLst>
            </p:cNvPr>
            <p:cNvCxnSpPr/>
            <p:nvPr/>
          </p:nvCxnSpPr>
          <p:spPr>
            <a:xfrm>
              <a:off x="0" y="1224387"/>
              <a:ext cx="12192000" cy="0"/>
            </a:xfrm>
            <a:prstGeom prst="straightConnector1">
              <a:avLst/>
            </a:prstGeom>
            <a:noFill/>
            <a:ln w="19050" cap="flat" cmpd="sng">
              <a:solidFill>
                <a:srgbClr val="D3D3D3"/>
              </a:solidFill>
              <a:prstDash val="solid"/>
              <a:miter lim="800000"/>
              <a:headEnd type="none" w="sm" len="sm"/>
              <a:tailEnd type="none" w="sm" len="sm"/>
            </a:ln>
          </p:spPr>
        </p:cxnSp>
        <p:sp>
          <p:nvSpPr>
            <p:cNvPr id="4" name="Google Shape;384;p6">
              <a:extLst>
                <a:ext uri="{FF2B5EF4-FFF2-40B4-BE49-F238E27FC236}">
                  <a16:creationId xmlns:a16="http://schemas.microsoft.com/office/drawing/2014/main" id="{49129170-CB9A-47EF-AE0B-F25A15A2364D}"/>
                </a:ext>
              </a:extLst>
            </p:cNvPr>
            <p:cNvSpPr txBox="1"/>
            <p:nvPr/>
          </p:nvSpPr>
          <p:spPr>
            <a:xfrm>
              <a:off x="4789357" y="974319"/>
              <a:ext cx="2638080" cy="500137"/>
            </a:xfrm>
            <a:prstGeom prst="rect">
              <a:avLst/>
            </a:prstGeom>
            <a:solidFill>
              <a:schemeClr val="lt1"/>
            </a:solid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600" b="1">
                  <a:solidFill>
                    <a:srgbClr val="355578"/>
                  </a:solidFill>
                  <a:latin typeface="Arial Black"/>
                  <a:ea typeface="Arial Black"/>
                  <a:cs typeface="Arial Black"/>
                  <a:sym typeface="Arial Black"/>
                </a:rPr>
                <a:t>Outcomes</a:t>
              </a:r>
              <a:endParaRPr>
                <a:solidFill>
                  <a:srgbClr val="355578"/>
                </a:solidFill>
              </a:endParaRPr>
            </a:p>
            <a:p>
              <a:pPr marL="0" marR="0" lvl="0" indent="0" algn="ctr" rtl="0">
                <a:spcBef>
                  <a:spcPts val="0"/>
                </a:spcBef>
                <a:spcAft>
                  <a:spcPts val="0"/>
                </a:spcAft>
                <a:buNone/>
              </a:pPr>
              <a:r>
                <a:rPr lang="en-US" sz="1000" b="1" i="1">
                  <a:solidFill>
                    <a:srgbClr val="355578"/>
                  </a:solidFill>
                  <a:latin typeface="Arial"/>
                  <a:ea typeface="Arial"/>
                  <a:cs typeface="Arial"/>
                  <a:sym typeface="Arial"/>
                </a:rPr>
                <a:t>(Where we are going)</a:t>
              </a:r>
              <a:endParaRPr sz="1600" b="1" i="1">
                <a:solidFill>
                  <a:srgbClr val="355578"/>
                </a:solidFill>
                <a:latin typeface="Arial"/>
                <a:ea typeface="Arial"/>
                <a:cs typeface="Arial"/>
                <a:sym typeface="Arial"/>
              </a:endParaRPr>
            </a:p>
          </p:txBody>
        </p:sp>
      </p:grpSp>
      <p:cxnSp>
        <p:nvCxnSpPr>
          <p:cNvPr id="5" name="Google Shape;381;p6">
            <a:extLst>
              <a:ext uri="{FF2B5EF4-FFF2-40B4-BE49-F238E27FC236}">
                <a16:creationId xmlns:a16="http://schemas.microsoft.com/office/drawing/2014/main" id="{2E52D6AB-80E3-483E-8F13-067D1D8DCEAE}"/>
              </a:ext>
            </a:extLst>
          </p:cNvPr>
          <p:cNvCxnSpPr/>
          <p:nvPr/>
        </p:nvCxnSpPr>
        <p:spPr>
          <a:xfrm>
            <a:off x="0" y="4039413"/>
            <a:ext cx="12192000" cy="0"/>
          </a:xfrm>
          <a:prstGeom prst="straightConnector1">
            <a:avLst/>
          </a:prstGeom>
          <a:noFill/>
          <a:ln w="19050" cap="flat" cmpd="sng">
            <a:solidFill>
              <a:srgbClr val="D3D3D3"/>
            </a:solidFill>
            <a:prstDash val="solid"/>
            <a:miter lim="800000"/>
            <a:headEnd type="none" w="sm" len="sm"/>
            <a:tailEnd type="none" w="sm" len="sm"/>
          </a:ln>
        </p:spPr>
      </p:cxnSp>
      <p:sp>
        <p:nvSpPr>
          <p:cNvPr id="6" name="Google Shape;382;p6">
            <a:extLst>
              <a:ext uri="{FF2B5EF4-FFF2-40B4-BE49-F238E27FC236}">
                <a16:creationId xmlns:a16="http://schemas.microsoft.com/office/drawing/2014/main" id="{B0A13E48-55C7-4682-8632-520EAA51CAFB}"/>
              </a:ext>
            </a:extLst>
          </p:cNvPr>
          <p:cNvSpPr txBox="1"/>
          <p:nvPr/>
        </p:nvSpPr>
        <p:spPr>
          <a:xfrm>
            <a:off x="4776960" y="3789345"/>
            <a:ext cx="2638080" cy="492402"/>
          </a:xfrm>
          <a:prstGeom prst="rect">
            <a:avLst/>
          </a:prstGeom>
          <a:solidFill>
            <a:schemeClr val="lt1"/>
          </a:solid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600" b="1">
                <a:solidFill>
                  <a:srgbClr val="6A80A3"/>
                </a:solidFill>
                <a:latin typeface="Arial Black"/>
                <a:ea typeface="Arial Black"/>
                <a:cs typeface="Arial Black"/>
                <a:sym typeface="Arial Black"/>
              </a:rPr>
              <a:t>Strategic Focus Areas</a:t>
            </a:r>
            <a:endParaRPr>
              <a:solidFill>
                <a:srgbClr val="6A80A3"/>
              </a:solidFill>
            </a:endParaRPr>
          </a:p>
          <a:p>
            <a:pPr marL="0" marR="0" lvl="0" indent="0" algn="ctr" rtl="0">
              <a:spcBef>
                <a:spcPts val="0"/>
              </a:spcBef>
              <a:spcAft>
                <a:spcPts val="0"/>
              </a:spcAft>
              <a:buNone/>
            </a:pPr>
            <a:r>
              <a:rPr lang="en-US" sz="1000" b="1" i="1">
                <a:solidFill>
                  <a:srgbClr val="6A80A3"/>
                </a:solidFill>
                <a:latin typeface="Arial"/>
                <a:ea typeface="Arial"/>
                <a:cs typeface="Arial"/>
                <a:sym typeface="Arial"/>
              </a:rPr>
              <a:t>(How we will get there)</a:t>
            </a:r>
            <a:endParaRPr sz="1600" b="1">
              <a:solidFill>
                <a:srgbClr val="6A80A3"/>
              </a:solidFill>
              <a:latin typeface="Arial"/>
              <a:ea typeface="Arial"/>
              <a:cs typeface="Arial"/>
              <a:sym typeface="Arial"/>
            </a:endParaRPr>
          </a:p>
        </p:txBody>
      </p:sp>
      <p:sp>
        <p:nvSpPr>
          <p:cNvPr id="7" name="Google Shape;390;p6">
            <a:extLst>
              <a:ext uri="{FF2B5EF4-FFF2-40B4-BE49-F238E27FC236}">
                <a16:creationId xmlns:a16="http://schemas.microsoft.com/office/drawing/2014/main" id="{89B3CBAC-B37D-4709-A072-648F4314741E}"/>
              </a:ext>
            </a:extLst>
          </p:cNvPr>
          <p:cNvSpPr/>
          <p:nvPr/>
        </p:nvSpPr>
        <p:spPr>
          <a:xfrm>
            <a:off x="305842" y="4307165"/>
            <a:ext cx="2651962" cy="313553"/>
          </a:xfrm>
          <a:prstGeom prst="rect">
            <a:avLst/>
          </a:prstGeom>
          <a:solidFill>
            <a:srgbClr val="6A80A3"/>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Common Data Definitions</a:t>
            </a:r>
          </a:p>
        </p:txBody>
      </p:sp>
      <p:sp>
        <p:nvSpPr>
          <p:cNvPr id="8" name="Google Shape;391;p6">
            <a:extLst>
              <a:ext uri="{FF2B5EF4-FFF2-40B4-BE49-F238E27FC236}">
                <a16:creationId xmlns:a16="http://schemas.microsoft.com/office/drawing/2014/main" id="{54B1485D-651B-4E16-9858-F9F8FED5CA93}"/>
              </a:ext>
            </a:extLst>
          </p:cNvPr>
          <p:cNvSpPr/>
          <p:nvPr/>
        </p:nvSpPr>
        <p:spPr>
          <a:xfrm>
            <a:off x="3254247" y="4307165"/>
            <a:ext cx="2656076" cy="313553"/>
          </a:xfrm>
          <a:prstGeom prst="rect">
            <a:avLst/>
          </a:prstGeom>
          <a:solidFill>
            <a:srgbClr val="6A80A3"/>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Governance Framework</a:t>
            </a:r>
          </a:p>
        </p:txBody>
      </p:sp>
      <p:sp>
        <p:nvSpPr>
          <p:cNvPr id="9" name="Google Shape;392;p6">
            <a:extLst>
              <a:ext uri="{FF2B5EF4-FFF2-40B4-BE49-F238E27FC236}">
                <a16:creationId xmlns:a16="http://schemas.microsoft.com/office/drawing/2014/main" id="{6A5054F3-591D-4EE2-B1B4-D70C87DD2E77}"/>
              </a:ext>
            </a:extLst>
          </p:cNvPr>
          <p:cNvSpPr/>
          <p:nvPr/>
        </p:nvSpPr>
        <p:spPr>
          <a:xfrm>
            <a:off x="6206766" y="4307165"/>
            <a:ext cx="2651963" cy="313553"/>
          </a:xfrm>
          <a:prstGeom prst="rect">
            <a:avLst/>
          </a:prstGeom>
          <a:solidFill>
            <a:srgbClr val="6A80A3"/>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Cross-Agency Data Sharing</a:t>
            </a:r>
          </a:p>
        </p:txBody>
      </p:sp>
      <p:sp>
        <p:nvSpPr>
          <p:cNvPr id="10" name="Google Shape;403;p6">
            <a:extLst>
              <a:ext uri="{FF2B5EF4-FFF2-40B4-BE49-F238E27FC236}">
                <a16:creationId xmlns:a16="http://schemas.microsoft.com/office/drawing/2014/main" id="{59BD00DB-72BE-4110-96EC-1C7B3A9EBFF8}"/>
              </a:ext>
            </a:extLst>
          </p:cNvPr>
          <p:cNvSpPr/>
          <p:nvPr/>
        </p:nvSpPr>
        <p:spPr>
          <a:xfrm>
            <a:off x="305842" y="4654668"/>
            <a:ext cx="2651962" cy="378565"/>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A common data language to support consistent data definitions</a:t>
            </a:r>
            <a:endParaRPr/>
          </a:p>
        </p:txBody>
      </p:sp>
      <p:sp>
        <p:nvSpPr>
          <p:cNvPr id="11" name="Google Shape;380;p6">
            <a:extLst>
              <a:ext uri="{FF2B5EF4-FFF2-40B4-BE49-F238E27FC236}">
                <a16:creationId xmlns:a16="http://schemas.microsoft.com/office/drawing/2014/main" id="{9BDC8DDA-3E2E-41CD-809D-E55F183425E5}"/>
              </a:ext>
            </a:extLst>
          </p:cNvPr>
          <p:cNvSpPr/>
          <p:nvPr/>
        </p:nvSpPr>
        <p:spPr>
          <a:xfrm rot="10800000">
            <a:off x="945269" y="3435110"/>
            <a:ext cx="10326255" cy="210029"/>
          </a:xfrm>
          <a:prstGeom prst="triangle">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2" name="Google Shape;378;p6">
            <a:extLst>
              <a:ext uri="{FF2B5EF4-FFF2-40B4-BE49-F238E27FC236}">
                <a16:creationId xmlns:a16="http://schemas.microsoft.com/office/drawing/2014/main" id="{EB56B1D7-A519-4BF1-BF8E-A92FD4540959}"/>
              </a:ext>
            </a:extLst>
          </p:cNvPr>
          <p:cNvCxnSpPr/>
          <p:nvPr/>
        </p:nvCxnSpPr>
        <p:spPr>
          <a:xfrm>
            <a:off x="0" y="334106"/>
            <a:ext cx="12192000" cy="0"/>
          </a:xfrm>
          <a:prstGeom prst="straightConnector1">
            <a:avLst/>
          </a:prstGeom>
          <a:noFill/>
          <a:ln w="19050" cap="flat" cmpd="sng">
            <a:solidFill>
              <a:srgbClr val="D3D3D3"/>
            </a:solidFill>
            <a:prstDash val="solid"/>
            <a:miter lim="800000"/>
            <a:headEnd type="none" w="sm" len="sm"/>
            <a:tailEnd type="none" w="sm" len="sm"/>
          </a:ln>
        </p:spPr>
      </p:cxnSp>
      <p:sp>
        <p:nvSpPr>
          <p:cNvPr id="13" name="Google Shape;379;p6">
            <a:extLst>
              <a:ext uri="{FF2B5EF4-FFF2-40B4-BE49-F238E27FC236}">
                <a16:creationId xmlns:a16="http://schemas.microsoft.com/office/drawing/2014/main" id="{920044AE-0FA5-4F06-A639-4A1BECCABE89}"/>
              </a:ext>
            </a:extLst>
          </p:cNvPr>
          <p:cNvSpPr txBox="1"/>
          <p:nvPr/>
        </p:nvSpPr>
        <p:spPr>
          <a:xfrm>
            <a:off x="4525246" y="84038"/>
            <a:ext cx="3141508" cy="492402"/>
          </a:xfrm>
          <a:prstGeom prst="rect">
            <a:avLst/>
          </a:prstGeom>
          <a:solidFill>
            <a:schemeClr val="lt1"/>
          </a:solid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600" b="1">
                <a:solidFill>
                  <a:srgbClr val="002856"/>
                </a:solidFill>
                <a:latin typeface="Arial Black"/>
                <a:ea typeface="Arial Black"/>
                <a:cs typeface="Arial Black"/>
                <a:sym typeface="Arial Black"/>
              </a:rPr>
              <a:t>Commonwealth Direction</a:t>
            </a:r>
            <a:endParaRPr>
              <a:solidFill>
                <a:srgbClr val="002856"/>
              </a:solidFill>
            </a:endParaRPr>
          </a:p>
          <a:p>
            <a:pPr marL="0" marR="0" lvl="0" indent="0" algn="ctr" rtl="0">
              <a:spcBef>
                <a:spcPts val="0"/>
              </a:spcBef>
              <a:spcAft>
                <a:spcPts val="0"/>
              </a:spcAft>
              <a:buNone/>
            </a:pPr>
            <a:r>
              <a:rPr lang="en-US" sz="1000" b="1" i="1">
                <a:solidFill>
                  <a:srgbClr val="002856"/>
                </a:solidFill>
                <a:latin typeface="Arial"/>
                <a:ea typeface="Arial"/>
                <a:cs typeface="Arial"/>
                <a:sym typeface="Arial"/>
              </a:rPr>
              <a:t>(What we will accomplish)</a:t>
            </a:r>
            <a:endParaRPr>
              <a:solidFill>
                <a:srgbClr val="002856"/>
              </a:solidFill>
            </a:endParaRPr>
          </a:p>
        </p:txBody>
      </p:sp>
      <p:sp>
        <p:nvSpPr>
          <p:cNvPr id="14" name="Google Shape;385;p6">
            <a:extLst>
              <a:ext uri="{FF2B5EF4-FFF2-40B4-BE49-F238E27FC236}">
                <a16:creationId xmlns:a16="http://schemas.microsoft.com/office/drawing/2014/main" id="{0C17DB76-607E-4D76-822D-EC05E8B5114B}"/>
              </a:ext>
            </a:extLst>
          </p:cNvPr>
          <p:cNvSpPr/>
          <p:nvPr/>
        </p:nvSpPr>
        <p:spPr>
          <a:xfrm>
            <a:off x="0" y="511737"/>
            <a:ext cx="12192000" cy="584735"/>
          </a:xfrm>
          <a:prstGeom prst="rect">
            <a:avLst/>
          </a:prstGeom>
          <a:noFill/>
          <a:ln>
            <a:noFill/>
          </a:ln>
        </p:spPr>
        <p:txBody>
          <a:bodyPr spcFirstLastPara="1" wrap="square" lIns="0" tIns="45700" rIns="0" bIns="45700" anchor="t" anchorCtr="0">
            <a:spAutoFit/>
          </a:bodyPr>
          <a:lstStyle/>
          <a:p>
            <a:pPr lvl="0" algn="ctr"/>
            <a:r>
              <a:rPr lang="en-US" sz="1600" b="1" i="1" dirty="0">
                <a:solidFill>
                  <a:srgbClr val="002856"/>
                </a:solidFill>
                <a:ea typeface="Arial"/>
                <a:cs typeface="Arial"/>
                <a:sym typeface="Arial"/>
              </a:rPr>
              <a:t>We will improve the criminal justice system by enhancing the integrity, accuracy, consistency, and transparency of information.</a:t>
            </a:r>
          </a:p>
        </p:txBody>
      </p:sp>
      <p:sp>
        <p:nvSpPr>
          <p:cNvPr id="15" name="Google Shape;392;p6">
            <a:extLst>
              <a:ext uri="{FF2B5EF4-FFF2-40B4-BE49-F238E27FC236}">
                <a16:creationId xmlns:a16="http://schemas.microsoft.com/office/drawing/2014/main" id="{57C4D910-6ADB-474D-9A20-0206A7C60EBA}"/>
              </a:ext>
            </a:extLst>
          </p:cNvPr>
          <p:cNvSpPr/>
          <p:nvPr/>
        </p:nvSpPr>
        <p:spPr>
          <a:xfrm>
            <a:off x="9155172" y="4307165"/>
            <a:ext cx="2651963" cy="313553"/>
          </a:xfrm>
          <a:prstGeom prst="rect">
            <a:avLst/>
          </a:prstGeom>
          <a:solidFill>
            <a:srgbClr val="6A80A3"/>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Execution Oversight</a:t>
            </a:r>
          </a:p>
        </p:txBody>
      </p:sp>
      <p:sp>
        <p:nvSpPr>
          <p:cNvPr id="16" name="Google Shape;403;p6">
            <a:extLst>
              <a:ext uri="{FF2B5EF4-FFF2-40B4-BE49-F238E27FC236}">
                <a16:creationId xmlns:a16="http://schemas.microsoft.com/office/drawing/2014/main" id="{682B3B94-F3F3-401C-AB7A-4D3E996FF2CD}"/>
              </a:ext>
            </a:extLst>
          </p:cNvPr>
          <p:cNvSpPr/>
          <p:nvPr/>
        </p:nvSpPr>
        <p:spPr>
          <a:xfrm>
            <a:off x="3254247" y="4654668"/>
            <a:ext cx="2651962" cy="378565"/>
          </a:xfrm>
          <a:prstGeom prst="rect">
            <a:avLst/>
          </a:prstGeom>
          <a:noFill/>
          <a:ln>
            <a:noFill/>
          </a:ln>
        </p:spPr>
        <p:txBody>
          <a:bodyPr spcFirstLastPara="1" wrap="square" lIns="27432" tIns="27432" rIns="27432" bIns="27432" anchor="t" anchorCtr="0">
            <a:spAutoFit/>
          </a:bodyPr>
          <a:lstStyle/>
          <a:p>
            <a:pPr lvl="0" algn="ctr"/>
            <a:r>
              <a:rPr lang="en-US" sz="1050" i="1">
                <a:solidFill>
                  <a:srgbClr val="002856"/>
                </a:solidFill>
                <a:ea typeface="Arial"/>
                <a:cs typeface="Arial"/>
                <a:sym typeface="Arial"/>
              </a:rPr>
              <a:t>Defined interagency roles, responsibilities, accountabilities, and processes</a:t>
            </a:r>
            <a:endParaRPr lang="en-US" sz="1050"/>
          </a:p>
        </p:txBody>
      </p:sp>
      <p:sp>
        <p:nvSpPr>
          <p:cNvPr id="17" name="Google Shape;403;p6">
            <a:extLst>
              <a:ext uri="{FF2B5EF4-FFF2-40B4-BE49-F238E27FC236}">
                <a16:creationId xmlns:a16="http://schemas.microsoft.com/office/drawing/2014/main" id="{B0A815A8-4401-49BA-8F6A-B498FC86414F}"/>
              </a:ext>
            </a:extLst>
          </p:cNvPr>
          <p:cNvSpPr/>
          <p:nvPr/>
        </p:nvSpPr>
        <p:spPr>
          <a:xfrm>
            <a:off x="6202652" y="4654668"/>
            <a:ext cx="2651962" cy="378565"/>
          </a:xfrm>
          <a:prstGeom prst="rect">
            <a:avLst/>
          </a:prstGeom>
          <a:noFill/>
          <a:ln>
            <a:noFill/>
          </a:ln>
        </p:spPr>
        <p:txBody>
          <a:bodyPr spcFirstLastPara="1" wrap="square" lIns="27432" tIns="27432" rIns="27432" bIns="27432" anchor="t" anchorCtr="0">
            <a:spAutoFit/>
          </a:bodyPr>
          <a:lstStyle/>
          <a:p>
            <a:pPr lvl="0" algn="ctr"/>
            <a:r>
              <a:rPr lang="en-US" sz="1050" i="1">
                <a:solidFill>
                  <a:srgbClr val="002856"/>
                </a:solidFill>
                <a:ea typeface="Arial"/>
                <a:cs typeface="Arial"/>
                <a:sym typeface="Arial"/>
              </a:rPr>
              <a:t>Requirements for the integration and development of supporting technology</a:t>
            </a:r>
            <a:endParaRPr lang="en-US" sz="1050"/>
          </a:p>
        </p:txBody>
      </p:sp>
      <p:sp>
        <p:nvSpPr>
          <p:cNvPr id="18" name="Google Shape;403;p6">
            <a:extLst>
              <a:ext uri="{FF2B5EF4-FFF2-40B4-BE49-F238E27FC236}">
                <a16:creationId xmlns:a16="http://schemas.microsoft.com/office/drawing/2014/main" id="{C0B9E0C8-4DCD-403E-91F6-EBA2F9A70F1F}"/>
              </a:ext>
            </a:extLst>
          </p:cNvPr>
          <p:cNvSpPr/>
          <p:nvPr/>
        </p:nvSpPr>
        <p:spPr>
          <a:xfrm>
            <a:off x="9135763" y="4654668"/>
            <a:ext cx="2716684" cy="378565"/>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Processes and procedures to operationalize and oversee target state implementation</a:t>
            </a:r>
            <a:endParaRPr/>
          </a:p>
        </p:txBody>
      </p:sp>
      <p:sp>
        <p:nvSpPr>
          <p:cNvPr id="19" name="Google Shape;390;p6">
            <a:extLst>
              <a:ext uri="{FF2B5EF4-FFF2-40B4-BE49-F238E27FC236}">
                <a16:creationId xmlns:a16="http://schemas.microsoft.com/office/drawing/2014/main" id="{96677423-F1DC-4641-8ED1-15F47889C1CE}"/>
              </a:ext>
            </a:extLst>
          </p:cNvPr>
          <p:cNvSpPr/>
          <p:nvPr/>
        </p:nvSpPr>
        <p:spPr>
          <a:xfrm>
            <a:off x="2658831"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dirty="0">
                <a:solidFill>
                  <a:srgbClr val="FFFFFF"/>
                </a:solidFill>
                <a:latin typeface="Arial Black"/>
                <a:ea typeface="Arial Black"/>
                <a:cs typeface="Arial Black"/>
                <a:sym typeface="Arial Black"/>
              </a:rPr>
              <a:t>Data</a:t>
            </a:r>
          </a:p>
        </p:txBody>
      </p:sp>
      <p:sp>
        <p:nvSpPr>
          <p:cNvPr id="20" name="Google Shape;390;p6">
            <a:extLst>
              <a:ext uri="{FF2B5EF4-FFF2-40B4-BE49-F238E27FC236}">
                <a16:creationId xmlns:a16="http://schemas.microsoft.com/office/drawing/2014/main" id="{CA63D555-6F44-466E-BB3B-8283BC9374A4}"/>
              </a:ext>
            </a:extLst>
          </p:cNvPr>
          <p:cNvSpPr/>
          <p:nvPr/>
        </p:nvSpPr>
        <p:spPr>
          <a:xfrm>
            <a:off x="4421047"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Governance</a:t>
            </a:r>
          </a:p>
        </p:txBody>
      </p:sp>
      <p:sp>
        <p:nvSpPr>
          <p:cNvPr id="21" name="Google Shape;390;p6">
            <a:extLst>
              <a:ext uri="{FF2B5EF4-FFF2-40B4-BE49-F238E27FC236}">
                <a16:creationId xmlns:a16="http://schemas.microsoft.com/office/drawing/2014/main" id="{BD534C27-A9CC-4F94-B6E1-D094B2F32A19}"/>
              </a:ext>
            </a:extLst>
          </p:cNvPr>
          <p:cNvSpPr/>
          <p:nvPr/>
        </p:nvSpPr>
        <p:spPr>
          <a:xfrm>
            <a:off x="6183263"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Process</a:t>
            </a:r>
          </a:p>
        </p:txBody>
      </p:sp>
      <p:sp>
        <p:nvSpPr>
          <p:cNvPr id="22" name="Google Shape;390;p6">
            <a:extLst>
              <a:ext uri="{FF2B5EF4-FFF2-40B4-BE49-F238E27FC236}">
                <a16:creationId xmlns:a16="http://schemas.microsoft.com/office/drawing/2014/main" id="{968904A2-F4D3-4577-B8FF-3887AE762250}"/>
              </a:ext>
            </a:extLst>
          </p:cNvPr>
          <p:cNvSpPr/>
          <p:nvPr/>
        </p:nvSpPr>
        <p:spPr>
          <a:xfrm>
            <a:off x="7945479"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People / Org.</a:t>
            </a:r>
          </a:p>
        </p:txBody>
      </p:sp>
      <p:sp>
        <p:nvSpPr>
          <p:cNvPr id="23" name="Google Shape;390;p6">
            <a:extLst>
              <a:ext uri="{FF2B5EF4-FFF2-40B4-BE49-F238E27FC236}">
                <a16:creationId xmlns:a16="http://schemas.microsoft.com/office/drawing/2014/main" id="{F4280FB8-7885-442B-9CFC-35152A684D6B}"/>
              </a:ext>
            </a:extLst>
          </p:cNvPr>
          <p:cNvSpPr/>
          <p:nvPr/>
        </p:nvSpPr>
        <p:spPr>
          <a:xfrm>
            <a:off x="9707693"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Technology</a:t>
            </a:r>
          </a:p>
        </p:txBody>
      </p:sp>
      <p:cxnSp>
        <p:nvCxnSpPr>
          <p:cNvPr id="24" name="Google Shape;381;p6">
            <a:extLst>
              <a:ext uri="{FF2B5EF4-FFF2-40B4-BE49-F238E27FC236}">
                <a16:creationId xmlns:a16="http://schemas.microsoft.com/office/drawing/2014/main" id="{0D094AC2-021E-46C0-ABDF-3F06945321D5}"/>
              </a:ext>
            </a:extLst>
          </p:cNvPr>
          <p:cNvCxnSpPr/>
          <p:nvPr/>
        </p:nvCxnSpPr>
        <p:spPr>
          <a:xfrm>
            <a:off x="565" y="5409825"/>
            <a:ext cx="12192000" cy="0"/>
          </a:xfrm>
          <a:prstGeom prst="straightConnector1">
            <a:avLst/>
          </a:prstGeom>
          <a:noFill/>
          <a:ln w="19050" cap="flat" cmpd="sng">
            <a:solidFill>
              <a:srgbClr val="D3D3D3"/>
            </a:solidFill>
            <a:prstDash val="solid"/>
            <a:miter lim="800000"/>
            <a:headEnd type="none" w="sm" len="sm"/>
            <a:tailEnd type="none" w="sm" len="sm"/>
          </a:ln>
        </p:spPr>
      </p:cxnSp>
      <p:sp>
        <p:nvSpPr>
          <p:cNvPr id="25" name="Google Shape;382;p6">
            <a:extLst>
              <a:ext uri="{FF2B5EF4-FFF2-40B4-BE49-F238E27FC236}">
                <a16:creationId xmlns:a16="http://schemas.microsoft.com/office/drawing/2014/main" id="{8E7AAA88-1721-45D4-91E5-3273EAAF6EA2}"/>
              </a:ext>
            </a:extLst>
          </p:cNvPr>
          <p:cNvSpPr txBox="1"/>
          <p:nvPr/>
        </p:nvSpPr>
        <p:spPr>
          <a:xfrm>
            <a:off x="4777525" y="5159757"/>
            <a:ext cx="2638080" cy="492402"/>
          </a:xfrm>
          <a:prstGeom prst="rect">
            <a:avLst/>
          </a:prstGeom>
          <a:solidFill>
            <a:schemeClr val="lt1"/>
          </a:solid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600" b="1">
                <a:solidFill>
                  <a:srgbClr val="6F7878"/>
                </a:solidFill>
                <a:latin typeface="Arial Black"/>
                <a:ea typeface="Arial Black"/>
                <a:cs typeface="Arial Black"/>
                <a:sym typeface="Arial Black"/>
              </a:rPr>
              <a:t>Key Capabilities</a:t>
            </a:r>
            <a:endParaRPr>
              <a:solidFill>
                <a:srgbClr val="6F7878"/>
              </a:solidFill>
            </a:endParaRPr>
          </a:p>
          <a:p>
            <a:pPr lvl="0" algn="ctr"/>
            <a:r>
              <a:rPr lang="en-US" sz="1000" b="1" i="1">
                <a:solidFill>
                  <a:srgbClr val="6F7878"/>
                </a:solidFill>
                <a:ea typeface="Arial"/>
                <a:cs typeface="Arial"/>
                <a:sym typeface="Arial"/>
              </a:rPr>
              <a:t>(What We Need to Put in Place</a:t>
            </a:r>
            <a:r>
              <a:rPr lang="en-US" sz="1000" b="1" i="1">
                <a:solidFill>
                  <a:srgbClr val="6F7878"/>
                </a:solidFill>
                <a:latin typeface="Arial"/>
                <a:ea typeface="Arial"/>
                <a:cs typeface="Arial"/>
                <a:sym typeface="Arial"/>
              </a:rPr>
              <a:t>)</a:t>
            </a:r>
            <a:endParaRPr sz="1600" b="1">
              <a:solidFill>
                <a:srgbClr val="6F7878"/>
              </a:solidFill>
              <a:latin typeface="Arial"/>
              <a:ea typeface="Arial"/>
              <a:cs typeface="Arial"/>
              <a:sym typeface="Arial"/>
            </a:endParaRPr>
          </a:p>
        </p:txBody>
      </p:sp>
      <p:grpSp>
        <p:nvGrpSpPr>
          <p:cNvPr id="26" name="Group 25">
            <a:extLst>
              <a:ext uri="{FF2B5EF4-FFF2-40B4-BE49-F238E27FC236}">
                <a16:creationId xmlns:a16="http://schemas.microsoft.com/office/drawing/2014/main" id="{06EFD843-2886-45D5-9D9C-6459C0F1754F}"/>
              </a:ext>
            </a:extLst>
          </p:cNvPr>
          <p:cNvGrpSpPr/>
          <p:nvPr/>
        </p:nvGrpSpPr>
        <p:grpSpPr>
          <a:xfrm>
            <a:off x="302010" y="1699493"/>
            <a:ext cx="11501010" cy="1635246"/>
            <a:chOff x="302010" y="1650065"/>
            <a:chExt cx="11501010" cy="1635246"/>
          </a:xfrm>
        </p:grpSpPr>
        <p:sp>
          <p:nvSpPr>
            <p:cNvPr id="27" name="Google Shape;395;p6">
              <a:extLst>
                <a:ext uri="{FF2B5EF4-FFF2-40B4-BE49-F238E27FC236}">
                  <a16:creationId xmlns:a16="http://schemas.microsoft.com/office/drawing/2014/main" id="{C77401A0-069B-4B37-94C9-D2B3B3EB72B5}"/>
                </a:ext>
              </a:extLst>
            </p:cNvPr>
            <p:cNvSpPr/>
            <p:nvPr/>
          </p:nvSpPr>
          <p:spPr>
            <a:xfrm>
              <a:off x="302010" y="2564380"/>
              <a:ext cx="1789630" cy="701731"/>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Data provide insights into agency performance to understand how to improve operations</a:t>
              </a:r>
              <a:endParaRPr/>
            </a:p>
          </p:txBody>
        </p:sp>
        <p:sp>
          <p:nvSpPr>
            <p:cNvPr id="28" name="Google Shape;389;p6">
              <a:extLst>
                <a:ext uri="{FF2B5EF4-FFF2-40B4-BE49-F238E27FC236}">
                  <a16:creationId xmlns:a16="http://schemas.microsoft.com/office/drawing/2014/main" id="{1FF6AEB1-0944-483B-B384-142FF3259906}"/>
                </a:ext>
              </a:extLst>
            </p:cNvPr>
            <p:cNvSpPr/>
            <p:nvPr/>
          </p:nvSpPr>
          <p:spPr>
            <a:xfrm>
              <a:off x="8071114" y="1650065"/>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Analyze Disparities and Evaluate Effectiveness of Reform Programs</a:t>
              </a:r>
            </a:p>
          </p:txBody>
        </p:sp>
        <p:sp>
          <p:nvSpPr>
            <p:cNvPr id="29" name="Google Shape;389;p6">
              <a:extLst>
                <a:ext uri="{FF2B5EF4-FFF2-40B4-BE49-F238E27FC236}">
                  <a16:creationId xmlns:a16="http://schemas.microsoft.com/office/drawing/2014/main" id="{F4CF8F38-3CC5-4F24-935A-21DD5DCCC677}"/>
                </a:ext>
              </a:extLst>
            </p:cNvPr>
            <p:cNvSpPr/>
            <p:nvPr/>
          </p:nvSpPr>
          <p:spPr>
            <a:xfrm>
              <a:off x="10013389" y="1650065"/>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Enable Studies of Recidivism and Other Criminal Justice Research</a:t>
              </a:r>
            </a:p>
          </p:txBody>
        </p:sp>
        <p:sp>
          <p:nvSpPr>
            <p:cNvPr id="30" name="Google Shape;389;p6">
              <a:extLst>
                <a:ext uri="{FF2B5EF4-FFF2-40B4-BE49-F238E27FC236}">
                  <a16:creationId xmlns:a16="http://schemas.microsoft.com/office/drawing/2014/main" id="{6F6CA71B-72DF-4163-93D0-42C98C3A6BDB}"/>
                </a:ext>
              </a:extLst>
            </p:cNvPr>
            <p:cNvSpPr/>
            <p:nvPr/>
          </p:nvSpPr>
          <p:spPr>
            <a:xfrm>
              <a:off x="302010" y="1650065"/>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Drive Operational Efficiency and Effectiveness</a:t>
              </a:r>
            </a:p>
          </p:txBody>
        </p:sp>
        <p:sp>
          <p:nvSpPr>
            <p:cNvPr id="31" name="Google Shape;389;p6">
              <a:extLst>
                <a:ext uri="{FF2B5EF4-FFF2-40B4-BE49-F238E27FC236}">
                  <a16:creationId xmlns:a16="http://schemas.microsoft.com/office/drawing/2014/main" id="{DD38EE46-4E05-44EE-A2E7-104B26DFB661}"/>
                </a:ext>
              </a:extLst>
            </p:cNvPr>
            <p:cNvSpPr/>
            <p:nvPr/>
          </p:nvSpPr>
          <p:spPr>
            <a:xfrm>
              <a:off x="4186562" y="1650065"/>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Increase Criminal Justice Data Availability, Quality, and Trust</a:t>
              </a:r>
            </a:p>
          </p:txBody>
        </p:sp>
        <p:sp>
          <p:nvSpPr>
            <p:cNvPr id="32" name="Google Shape;395;p6">
              <a:extLst>
                <a:ext uri="{FF2B5EF4-FFF2-40B4-BE49-F238E27FC236}">
                  <a16:creationId xmlns:a16="http://schemas.microsoft.com/office/drawing/2014/main" id="{D37242E3-3D4F-470D-A393-086956CE3826}"/>
                </a:ext>
              </a:extLst>
            </p:cNvPr>
            <p:cNvSpPr/>
            <p:nvPr/>
          </p:nvSpPr>
          <p:spPr>
            <a:xfrm>
              <a:off x="4186562" y="2572060"/>
              <a:ext cx="1789630" cy="540148"/>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Criminal justice data can be consistently and securely shared and reused</a:t>
              </a:r>
              <a:endParaRPr/>
            </a:p>
          </p:txBody>
        </p:sp>
        <p:sp>
          <p:nvSpPr>
            <p:cNvPr id="33" name="Google Shape;395;p6">
              <a:extLst>
                <a:ext uri="{FF2B5EF4-FFF2-40B4-BE49-F238E27FC236}">
                  <a16:creationId xmlns:a16="http://schemas.microsoft.com/office/drawing/2014/main" id="{461EC3AE-D543-4C60-A27F-7D749881EFE3}"/>
                </a:ext>
              </a:extLst>
            </p:cNvPr>
            <p:cNvSpPr/>
            <p:nvPr/>
          </p:nvSpPr>
          <p:spPr>
            <a:xfrm>
              <a:off x="8071113" y="2579740"/>
              <a:ext cx="1789631" cy="540148"/>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Data support understanding racial disparities and the success of reform programs </a:t>
              </a:r>
              <a:endParaRPr/>
            </a:p>
          </p:txBody>
        </p:sp>
        <p:sp>
          <p:nvSpPr>
            <p:cNvPr id="34" name="Google Shape;395;p6">
              <a:extLst>
                <a:ext uri="{FF2B5EF4-FFF2-40B4-BE49-F238E27FC236}">
                  <a16:creationId xmlns:a16="http://schemas.microsoft.com/office/drawing/2014/main" id="{BCA3B584-2616-49FE-AE01-A530FF11D26C}"/>
                </a:ext>
              </a:extLst>
            </p:cNvPr>
            <p:cNvSpPr/>
            <p:nvPr/>
          </p:nvSpPr>
          <p:spPr>
            <a:xfrm>
              <a:off x="10013390" y="2583580"/>
              <a:ext cx="1789630" cy="701731"/>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Data support criminal justice reform studies more intuitively and through easier access</a:t>
              </a:r>
              <a:endParaRPr/>
            </a:p>
          </p:txBody>
        </p:sp>
        <p:sp>
          <p:nvSpPr>
            <p:cNvPr id="35" name="Google Shape;389;p6">
              <a:extLst>
                <a:ext uri="{FF2B5EF4-FFF2-40B4-BE49-F238E27FC236}">
                  <a16:creationId xmlns:a16="http://schemas.microsoft.com/office/drawing/2014/main" id="{9A5A0E91-5694-4142-84F2-C94360CED62A}"/>
                </a:ext>
              </a:extLst>
            </p:cNvPr>
            <p:cNvSpPr/>
            <p:nvPr/>
          </p:nvSpPr>
          <p:spPr>
            <a:xfrm>
              <a:off x="2244285" y="1655991"/>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Enable Linkages of Individual Records Across the Criminal Justice System </a:t>
              </a:r>
            </a:p>
          </p:txBody>
        </p:sp>
        <p:sp>
          <p:nvSpPr>
            <p:cNvPr id="36" name="Google Shape;395;p6">
              <a:extLst>
                <a:ext uri="{FF2B5EF4-FFF2-40B4-BE49-F238E27FC236}">
                  <a16:creationId xmlns:a16="http://schemas.microsoft.com/office/drawing/2014/main" id="{54FD6C75-26B6-4773-9E59-8B90A6A84E5C}"/>
                </a:ext>
              </a:extLst>
            </p:cNvPr>
            <p:cNvSpPr/>
            <p:nvPr/>
          </p:nvSpPr>
          <p:spPr>
            <a:xfrm>
              <a:off x="2244285" y="2581826"/>
              <a:ext cx="1789630" cy="540148"/>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Individuals are tracked consistently throughout the entire criminal justice System</a:t>
              </a:r>
              <a:endParaRPr/>
            </a:p>
          </p:txBody>
        </p:sp>
        <p:sp>
          <p:nvSpPr>
            <p:cNvPr id="37" name="Google Shape;389;p6">
              <a:extLst>
                <a:ext uri="{FF2B5EF4-FFF2-40B4-BE49-F238E27FC236}">
                  <a16:creationId xmlns:a16="http://schemas.microsoft.com/office/drawing/2014/main" id="{165E360B-104D-4796-BC79-22A4BF9C4401}"/>
                </a:ext>
              </a:extLst>
            </p:cNvPr>
            <p:cNvSpPr/>
            <p:nvPr/>
          </p:nvSpPr>
          <p:spPr>
            <a:xfrm>
              <a:off x="6128836" y="1653482"/>
              <a:ext cx="1789630" cy="923749"/>
            </a:xfrm>
            <a:prstGeom prst="rect">
              <a:avLst/>
            </a:prstGeom>
            <a:solidFill>
              <a:srgbClr val="355578"/>
            </a:solidFill>
            <a:ln>
              <a:noFill/>
            </a:ln>
          </p:spPr>
          <p:txBody>
            <a:bodyPr spcFirstLastPara="1" wrap="square" lIns="91425" tIns="45700" rIns="45700" bIns="45700" anchor="ctr" anchorCtr="0">
              <a:noAutofit/>
            </a:bodyPr>
            <a:lstStyle/>
            <a:p>
              <a:pPr lvl="0" algn="ctr"/>
              <a:r>
                <a:rPr lang="en-US" sz="1200">
                  <a:solidFill>
                    <a:srgbClr val="FFFFFF"/>
                  </a:solidFill>
                  <a:latin typeface="Arial Black"/>
                  <a:ea typeface="Arial Black"/>
                  <a:cs typeface="Arial Black"/>
                  <a:sym typeface="Arial Black"/>
                </a:rPr>
                <a:t>Empower Data-Driven Decision Making and Monitoring </a:t>
              </a:r>
            </a:p>
          </p:txBody>
        </p:sp>
        <p:sp>
          <p:nvSpPr>
            <p:cNvPr id="38" name="Google Shape;395;p6">
              <a:extLst>
                <a:ext uri="{FF2B5EF4-FFF2-40B4-BE49-F238E27FC236}">
                  <a16:creationId xmlns:a16="http://schemas.microsoft.com/office/drawing/2014/main" id="{4DA72F59-72C4-4056-9A32-0840C5F276C8}"/>
                </a:ext>
              </a:extLst>
            </p:cNvPr>
            <p:cNvSpPr/>
            <p:nvPr/>
          </p:nvSpPr>
          <p:spPr>
            <a:xfrm>
              <a:off x="6128836" y="2571637"/>
              <a:ext cx="1789630" cy="378565"/>
            </a:xfrm>
            <a:prstGeom prst="rect">
              <a:avLst/>
            </a:prstGeom>
            <a:noFill/>
            <a:ln>
              <a:noFill/>
            </a:ln>
          </p:spPr>
          <p:txBody>
            <a:bodyPr spcFirstLastPara="1" wrap="square" lIns="27432" tIns="27432" rIns="27432" bIns="27432" anchor="t" anchorCtr="0">
              <a:spAutoFit/>
            </a:bodyPr>
            <a:lstStyle/>
            <a:p>
              <a:pPr marL="0" marR="0" lvl="0" indent="0" algn="ctr" rtl="0">
                <a:spcBef>
                  <a:spcPts val="0"/>
                </a:spcBef>
                <a:spcAft>
                  <a:spcPts val="0"/>
                </a:spcAft>
                <a:buNone/>
              </a:pPr>
              <a:r>
                <a:rPr lang="en-US" sz="1050" i="1">
                  <a:solidFill>
                    <a:srgbClr val="002856"/>
                  </a:solidFill>
                  <a:latin typeface="Arial"/>
                  <a:ea typeface="Arial"/>
                  <a:cs typeface="Arial"/>
                  <a:sym typeface="Arial"/>
                </a:rPr>
                <a:t>Data support key decisions for policies and budgeting</a:t>
              </a:r>
              <a:endParaRPr/>
            </a:p>
          </p:txBody>
        </p:sp>
      </p:grpSp>
      <p:sp>
        <p:nvSpPr>
          <p:cNvPr id="40" name="Google Shape;390;p6">
            <a:extLst>
              <a:ext uri="{FF2B5EF4-FFF2-40B4-BE49-F238E27FC236}">
                <a16:creationId xmlns:a16="http://schemas.microsoft.com/office/drawing/2014/main" id="{93791E17-06EF-4606-B4CB-ADB69860CE14}"/>
              </a:ext>
            </a:extLst>
          </p:cNvPr>
          <p:cNvSpPr/>
          <p:nvPr/>
        </p:nvSpPr>
        <p:spPr>
          <a:xfrm>
            <a:off x="896615" y="5712046"/>
            <a:ext cx="1419214" cy="297726"/>
          </a:xfrm>
          <a:prstGeom prst="rect">
            <a:avLst/>
          </a:prstGeom>
          <a:solidFill>
            <a:srgbClr val="6F7878"/>
          </a:solidFill>
          <a:ln>
            <a:noFill/>
          </a:ln>
        </p:spPr>
        <p:txBody>
          <a:bodyPr spcFirstLastPara="1" wrap="square" lIns="91425" tIns="45700" rIns="91425" bIns="45700" anchor="ctr" anchorCtr="0">
            <a:noAutofit/>
          </a:bodyPr>
          <a:lstStyle/>
          <a:p>
            <a:pPr lvl="0" algn="ctr"/>
            <a:r>
              <a:rPr lang="en-US" sz="1200">
                <a:solidFill>
                  <a:srgbClr val="FFFFFF"/>
                </a:solidFill>
                <a:latin typeface="Arial Black"/>
                <a:ea typeface="Arial Black"/>
                <a:cs typeface="Arial Black"/>
                <a:sym typeface="Arial Black"/>
              </a:rPr>
              <a:t>Unique ID</a:t>
            </a:r>
          </a:p>
        </p:txBody>
      </p:sp>
    </p:spTree>
    <p:extLst>
      <p:ext uri="{BB962C8B-B14F-4D97-AF65-F5344CB8AC3E}">
        <p14:creationId xmlns:p14="http://schemas.microsoft.com/office/powerpoint/2010/main" val="3800243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951BD-C42B-4EE3-A37A-4BD95AB90A3B}"/>
              </a:ext>
            </a:extLst>
          </p:cNvPr>
          <p:cNvSpPr>
            <a:spLocks noGrp="1"/>
          </p:cNvSpPr>
          <p:nvPr>
            <p:ph type="title"/>
          </p:nvPr>
        </p:nvSpPr>
        <p:spPr/>
        <p:txBody>
          <a:bodyPr/>
          <a:lstStyle/>
          <a:p>
            <a:r>
              <a:rPr lang="en-US"/>
              <a:t>Target State Overview</a:t>
            </a:r>
          </a:p>
        </p:txBody>
      </p:sp>
      <p:sp>
        <p:nvSpPr>
          <p:cNvPr id="20" name="Rectangle 19">
            <a:extLst>
              <a:ext uri="{FF2B5EF4-FFF2-40B4-BE49-F238E27FC236}">
                <a16:creationId xmlns:a16="http://schemas.microsoft.com/office/drawing/2014/main" id="{B8E7E019-A9FB-4A5F-A18D-E14168E087BD}"/>
              </a:ext>
            </a:extLst>
          </p:cNvPr>
          <p:cNvSpPr/>
          <p:nvPr/>
        </p:nvSpPr>
        <p:spPr>
          <a:xfrm>
            <a:off x="419463" y="1213588"/>
            <a:ext cx="2683841" cy="474386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TextBox 5">
            <a:extLst>
              <a:ext uri="{FF2B5EF4-FFF2-40B4-BE49-F238E27FC236}">
                <a16:creationId xmlns:a16="http://schemas.microsoft.com/office/drawing/2014/main" id="{A0BE9514-4D3B-433E-9263-405FB0771A18}"/>
              </a:ext>
            </a:extLst>
          </p:cNvPr>
          <p:cNvSpPr txBox="1"/>
          <p:nvPr/>
        </p:nvSpPr>
        <p:spPr>
          <a:xfrm>
            <a:off x="9286005" y="2641571"/>
            <a:ext cx="1830601" cy="923330"/>
          </a:xfrm>
          <a:prstGeom prst="rect">
            <a:avLst/>
          </a:prstGeom>
          <a:solidFill>
            <a:srgbClr val="FF540A"/>
          </a:solidFill>
        </p:spPr>
        <p:txBody>
          <a:bodyPr wrap="square" lIns="0" rIns="0" rtlCol="0">
            <a:spAutoFit/>
          </a:bodyPr>
          <a:lstStyle/>
          <a:p>
            <a:pPr algn="ctr">
              <a:spcBef>
                <a:spcPts val="600"/>
              </a:spcBef>
            </a:pPr>
            <a:r>
              <a:rPr lang="en-US">
                <a:solidFill>
                  <a:srgbClr val="FFFFFF"/>
                </a:solidFill>
                <a:latin typeface="+mj-lt"/>
              </a:rPr>
              <a:t>Integrated Criminal Justice Data</a:t>
            </a:r>
          </a:p>
        </p:txBody>
      </p:sp>
      <p:cxnSp>
        <p:nvCxnSpPr>
          <p:cNvPr id="8" name="Straight Arrow Connector 7">
            <a:extLst>
              <a:ext uri="{FF2B5EF4-FFF2-40B4-BE49-F238E27FC236}">
                <a16:creationId xmlns:a16="http://schemas.microsoft.com/office/drawing/2014/main" id="{AC0BA802-3182-4E89-9D9A-8C15192A9ED7}"/>
              </a:ext>
            </a:extLst>
          </p:cNvPr>
          <p:cNvCxnSpPr>
            <a:cxnSpLocks/>
          </p:cNvCxnSpPr>
          <p:nvPr/>
        </p:nvCxnSpPr>
        <p:spPr>
          <a:xfrm>
            <a:off x="7723790" y="3138591"/>
            <a:ext cx="1463040" cy="0"/>
          </a:xfrm>
          <a:prstGeom prst="straightConnector1">
            <a:avLst/>
          </a:prstGeom>
          <a:noFill/>
          <a:ln w="12700" cap="flat" cmpd="sng">
            <a:solidFill>
              <a:srgbClr val="6F7878"/>
            </a:solidFill>
            <a:prstDash val="solid"/>
            <a:round/>
            <a:headEnd type="none" w="med" len="med"/>
            <a:tailEnd type="triangle" w="med" len="med"/>
          </a:ln>
        </p:spPr>
      </p:cxnSp>
      <p:cxnSp>
        <p:nvCxnSpPr>
          <p:cNvPr id="12" name="Straight Arrow Connector 11">
            <a:extLst>
              <a:ext uri="{FF2B5EF4-FFF2-40B4-BE49-F238E27FC236}">
                <a16:creationId xmlns:a16="http://schemas.microsoft.com/office/drawing/2014/main" id="{730D79C3-D09E-4C78-85A3-9F3DD69E47C2}"/>
              </a:ext>
            </a:extLst>
          </p:cNvPr>
          <p:cNvCxnSpPr>
            <a:cxnSpLocks/>
          </p:cNvCxnSpPr>
          <p:nvPr/>
        </p:nvCxnSpPr>
        <p:spPr>
          <a:xfrm>
            <a:off x="3202479" y="1599208"/>
            <a:ext cx="3018556" cy="1318657"/>
          </a:xfrm>
          <a:prstGeom prst="straightConnector1">
            <a:avLst/>
          </a:prstGeom>
          <a:noFill/>
          <a:ln w="12700" cap="flat" cmpd="sng">
            <a:solidFill>
              <a:srgbClr val="6F7878"/>
            </a:solidFill>
            <a:prstDash val="solid"/>
            <a:round/>
            <a:headEnd type="triangle" w="lg" len="med"/>
            <a:tailEnd type="triangle" w="lg" len="med"/>
          </a:ln>
        </p:spPr>
      </p:cxnSp>
      <p:cxnSp>
        <p:nvCxnSpPr>
          <p:cNvPr id="22" name="Straight Arrow Connector 21">
            <a:extLst>
              <a:ext uri="{FF2B5EF4-FFF2-40B4-BE49-F238E27FC236}">
                <a16:creationId xmlns:a16="http://schemas.microsoft.com/office/drawing/2014/main" id="{AD893D55-62AF-416B-87CF-692EBF917651}"/>
              </a:ext>
            </a:extLst>
          </p:cNvPr>
          <p:cNvCxnSpPr>
            <a:cxnSpLocks/>
          </p:cNvCxnSpPr>
          <p:nvPr/>
        </p:nvCxnSpPr>
        <p:spPr>
          <a:xfrm flipV="1">
            <a:off x="3202479" y="3149928"/>
            <a:ext cx="3057329" cy="25216"/>
          </a:xfrm>
          <a:prstGeom prst="straightConnector1">
            <a:avLst/>
          </a:prstGeom>
          <a:noFill/>
          <a:ln w="12700" cap="flat" cmpd="sng">
            <a:solidFill>
              <a:srgbClr val="6F7878"/>
            </a:solidFill>
            <a:prstDash val="solid"/>
            <a:round/>
            <a:headEnd type="triangle" w="lg" len="med"/>
            <a:tailEnd type="triangle" w="lg" len="med"/>
          </a:ln>
        </p:spPr>
      </p:cxnSp>
      <p:cxnSp>
        <p:nvCxnSpPr>
          <p:cNvPr id="27" name="Straight Arrow Connector 26">
            <a:extLst>
              <a:ext uri="{FF2B5EF4-FFF2-40B4-BE49-F238E27FC236}">
                <a16:creationId xmlns:a16="http://schemas.microsoft.com/office/drawing/2014/main" id="{C81C3815-374C-47A5-A493-1EA6CA1A85E2}"/>
              </a:ext>
            </a:extLst>
          </p:cNvPr>
          <p:cNvCxnSpPr>
            <a:cxnSpLocks/>
          </p:cNvCxnSpPr>
          <p:nvPr/>
        </p:nvCxnSpPr>
        <p:spPr>
          <a:xfrm flipV="1">
            <a:off x="3250383" y="3498860"/>
            <a:ext cx="3074542" cy="2137000"/>
          </a:xfrm>
          <a:prstGeom prst="straightConnector1">
            <a:avLst/>
          </a:prstGeom>
          <a:noFill/>
          <a:ln w="12700" cap="flat" cmpd="sng">
            <a:solidFill>
              <a:srgbClr val="6F7878"/>
            </a:solidFill>
            <a:prstDash val="solid"/>
            <a:round/>
            <a:headEnd type="triangle" w="lg" len="med"/>
            <a:tailEnd type="triangle" w="lg" len="med"/>
          </a:ln>
        </p:spPr>
      </p:cxnSp>
      <p:sp>
        <p:nvSpPr>
          <p:cNvPr id="35" name="TextBox 34">
            <a:extLst>
              <a:ext uri="{FF2B5EF4-FFF2-40B4-BE49-F238E27FC236}">
                <a16:creationId xmlns:a16="http://schemas.microsoft.com/office/drawing/2014/main" id="{1A605F3D-7DB9-40C5-A49F-88B103043ABC}"/>
              </a:ext>
            </a:extLst>
          </p:cNvPr>
          <p:cNvSpPr txBox="1"/>
          <p:nvPr/>
        </p:nvSpPr>
        <p:spPr>
          <a:xfrm>
            <a:off x="6222057" y="4310425"/>
            <a:ext cx="1643890" cy="1077218"/>
          </a:xfrm>
          <a:prstGeom prst="rect">
            <a:avLst/>
          </a:prstGeom>
          <a:noFill/>
        </p:spPr>
        <p:txBody>
          <a:bodyPr wrap="square" lIns="0" tIns="0" rIns="0" bIns="0" rtlCol="0">
            <a:spAutoFit/>
          </a:bodyPr>
          <a:lstStyle/>
          <a:p>
            <a:pPr marL="168275" indent="-168275">
              <a:buFont typeface="Wingdings" panose="05000000000000000000" pitchFamily="2" charset="2"/>
              <a:buChar char="§"/>
            </a:pPr>
            <a:r>
              <a:rPr lang="en-US" sz="1400"/>
              <a:t>Master Person  File Management</a:t>
            </a:r>
          </a:p>
          <a:p>
            <a:pPr marL="168275" indent="-168275">
              <a:buFont typeface="Wingdings" panose="05000000000000000000" pitchFamily="2" charset="2"/>
              <a:buChar char="§"/>
            </a:pPr>
            <a:r>
              <a:rPr lang="en-US" sz="1400"/>
              <a:t>Integration Broker</a:t>
            </a:r>
          </a:p>
          <a:p>
            <a:pPr marL="168275" indent="-168275">
              <a:buFont typeface="Wingdings" panose="05000000000000000000" pitchFamily="2" charset="2"/>
              <a:buChar char="§"/>
            </a:pPr>
            <a:r>
              <a:rPr lang="en-US" sz="1400"/>
              <a:t>Metadata Management</a:t>
            </a:r>
          </a:p>
        </p:txBody>
      </p:sp>
      <p:sp>
        <p:nvSpPr>
          <p:cNvPr id="38" name="Rectangle 37">
            <a:extLst>
              <a:ext uri="{FF2B5EF4-FFF2-40B4-BE49-F238E27FC236}">
                <a16:creationId xmlns:a16="http://schemas.microsoft.com/office/drawing/2014/main" id="{B3CC307A-1E28-4EB6-B329-42C58F49A314}"/>
              </a:ext>
            </a:extLst>
          </p:cNvPr>
          <p:cNvSpPr/>
          <p:nvPr/>
        </p:nvSpPr>
        <p:spPr bwMode="gray">
          <a:xfrm>
            <a:off x="648289" y="1533271"/>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Law Enforcement</a:t>
            </a:r>
          </a:p>
        </p:txBody>
      </p:sp>
      <p:sp>
        <p:nvSpPr>
          <p:cNvPr id="39" name="Rectangle 38">
            <a:extLst>
              <a:ext uri="{FF2B5EF4-FFF2-40B4-BE49-F238E27FC236}">
                <a16:creationId xmlns:a16="http://schemas.microsoft.com/office/drawing/2014/main" id="{9C4EA3EF-CB66-410C-893E-B7DA0402986F}"/>
              </a:ext>
            </a:extLst>
          </p:cNvPr>
          <p:cNvSpPr/>
          <p:nvPr/>
        </p:nvSpPr>
        <p:spPr bwMode="gray">
          <a:xfrm>
            <a:off x="648289" y="5168034"/>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Corrections</a:t>
            </a:r>
          </a:p>
        </p:txBody>
      </p:sp>
      <p:sp>
        <p:nvSpPr>
          <p:cNvPr id="40" name="Rectangle 39">
            <a:extLst>
              <a:ext uri="{FF2B5EF4-FFF2-40B4-BE49-F238E27FC236}">
                <a16:creationId xmlns:a16="http://schemas.microsoft.com/office/drawing/2014/main" id="{A4834E07-3AC3-4E3E-83F5-1EC484E065F1}"/>
              </a:ext>
            </a:extLst>
          </p:cNvPr>
          <p:cNvSpPr/>
          <p:nvPr/>
        </p:nvSpPr>
        <p:spPr bwMode="gray">
          <a:xfrm>
            <a:off x="648289" y="3714130"/>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Sheriffs</a:t>
            </a:r>
          </a:p>
        </p:txBody>
      </p:sp>
      <p:sp>
        <p:nvSpPr>
          <p:cNvPr id="41" name="Rectangle 40">
            <a:extLst>
              <a:ext uri="{FF2B5EF4-FFF2-40B4-BE49-F238E27FC236}">
                <a16:creationId xmlns:a16="http://schemas.microsoft.com/office/drawing/2014/main" id="{34615D41-35E8-4DC4-BA95-4599880F1D73}"/>
              </a:ext>
            </a:extLst>
          </p:cNvPr>
          <p:cNvSpPr/>
          <p:nvPr/>
        </p:nvSpPr>
        <p:spPr bwMode="gray">
          <a:xfrm>
            <a:off x="648289" y="4441083"/>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County DAs</a:t>
            </a:r>
          </a:p>
        </p:txBody>
      </p:sp>
      <p:sp>
        <p:nvSpPr>
          <p:cNvPr id="42" name="Rectangle 41">
            <a:extLst>
              <a:ext uri="{FF2B5EF4-FFF2-40B4-BE49-F238E27FC236}">
                <a16:creationId xmlns:a16="http://schemas.microsoft.com/office/drawing/2014/main" id="{78CB1449-58F2-4EB0-BE37-B29AE7C8F059}"/>
              </a:ext>
            </a:extLst>
          </p:cNvPr>
          <p:cNvSpPr/>
          <p:nvPr/>
        </p:nvSpPr>
        <p:spPr bwMode="gray">
          <a:xfrm>
            <a:off x="648289" y="2260224"/>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Courts</a:t>
            </a:r>
          </a:p>
        </p:txBody>
      </p:sp>
      <p:sp>
        <p:nvSpPr>
          <p:cNvPr id="43" name="Rectangle 42">
            <a:extLst>
              <a:ext uri="{FF2B5EF4-FFF2-40B4-BE49-F238E27FC236}">
                <a16:creationId xmlns:a16="http://schemas.microsoft.com/office/drawing/2014/main" id="{176EDFD7-C76A-4A99-9558-62D6AE0D7EDB}"/>
              </a:ext>
            </a:extLst>
          </p:cNvPr>
          <p:cNvSpPr/>
          <p:nvPr/>
        </p:nvSpPr>
        <p:spPr bwMode="gray">
          <a:xfrm>
            <a:off x="648289" y="2987177"/>
            <a:ext cx="1487967" cy="5225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Probation</a:t>
            </a:r>
          </a:p>
        </p:txBody>
      </p:sp>
      <p:sp>
        <p:nvSpPr>
          <p:cNvPr id="55" name="Google Shape;391;p6">
            <a:extLst>
              <a:ext uri="{FF2B5EF4-FFF2-40B4-BE49-F238E27FC236}">
                <a16:creationId xmlns:a16="http://schemas.microsoft.com/office/drawing/2014/main" id="{C23F6FEE-8737-4813-88A4-DB99D6678DF0}"/>
              </a:ext>
            </a:extLst>
          </p:cNvPr>
          <p:cNvSpPr/>
          <p:nvPr/>
        </p:nvSpPr>
        <p:spPr>
          <a:xfrm>
            <a:off x="3211610" y="2199041"/>
            <a:ext cx="1729034" cy="411280"/>
          </a:xfrm>
          <a:prstGeom prst="rect">
            <a:avLst/>
          </a:prstGeom>
          <a:noFill/>
          <a:ln>
            <a:noFill/>
          </a:ln>
        </p:spPr>
        <p:txBody>
          <a:bodyPr spcFirstLastPara="1" wrap="square" lIns="91425" tIns="45700" rIns="91425" bIns="45700" anchor="ctr" anchorCtr="0">
            <a:noAutofit/>
          </a:bodyPr>
          <a:lstStyle/>
          <a:p>
            <a:pPr lvl="0"/>
            <a:r>
              <a:rPr lang="en-US" sz="1600">
                <a:solidFill>
                  <a:srgbClr val="6A80A3"/>
                </a:solidFill>
                <a:latin typeface="Arial Black"/>
                <a:ea typeface="Arial Black"/>
                <a:cs typeface="Arial Black"/>
                <a:sym typeface="Arial Black"/>
              </a:rPr>
              <a:t>Governance Framework</a:t>
            </a:r>
          </a:p>
        </p:txBody>
      </p:sp>
      <p:sp>
        <p:nvSpPr>
          <p:cNvPr id="56" name="Google Shape;391;p6">
            <a:extLst>
              <a:ext uri="{FF2B5EF4-FFF2-40B4-BE49-F238E27FC236}">
                <a16:creationId xmlns:a16="http://schemas.microsoft.com/office/drawing/2014/main" id="{50E27C9B-0927-475F-B431-BE938A9E3B0C}"/>
              </a:ext>
            </a:extLst>
          </p:cNvPr>
          <p:cNvSpPr/>
          <p:nvPr/>
        </p:nvSpPr>
        <p:spPr>
          <a:xfrm>
            <a:off x="4033526" y="1222140"/>
            <a:ext cx="1862241" cy="448930"/>
          </a:xfrm>
          <a:prstGeom prst="rect">
            <a:avLst/>
          </a:prstGeom>
          <a:noFill/>
          <a:ln>
            <a:noFill/>
          </a:ln>
        </p:spPr>
        <p:txBody>
          <a:bodyPr spcFirstLastPara="1" wrap="square" lIns="91425" tIns="45700" rIns="91425" bIns="45700" anchor="ctr" anchorCtr="0">
            <a:noAutofit/>
          </a:bodyPr>
          <a:lstStyle/>
          <a:p>
            <a:pPr lvl="0"/>
            <a:r>
              <a:rPr lang="en-US" sz="1600">
                <a:solidFill>
                  <a:srgbClr val="6A80A3"/>
                </a:solidFill>
                <a:latin typeface="Arial Black"/>
                <a:ea typeface="Arial Black"/>
                <a:cs typeface="Arial Black"/>
                <a:sym typeface="Arial Black"/>
              </a:rPr>
              <a:t>Common Data Definitions</a:t>
            </a:r>
          </a:p>
        </p:txBody>
      </p:sp>
      <p:sp>
        <p:nvSpPr>
          <p:cNvPr id="57" name="Google Shape;391;p6">
            <a:extLst>
              <a:ext uri="{FF2B5EF4-FFF2-40B4-BE49-F238E27FC236}">
                <a16:creationId xmlns:a16="http://schemas.microsoft.com/office/drawing/2014/main" id="{72FEB752-D145-427C-8766-5ADEF780E97A}"/>
              </a:ext>
            </a:extLst>
          </p:cNvPr>
          <p:cNvSpPr/>
          <p:nvPr/>
        </p:nvSpPr>
        <p:spPr>
          <a:xfrm>
            <a:off x="3238515" y="3237435"/>
            <a:ext cx="1442520" cy="522515"/>
          </a:xfrm>
          <a:prstGeom prst="rect">
            <a:avLst/>
          </a:prstGeom>
          <a:noFill/>
          <a:ln>
            <a:noFill/>
          </a:ln>
        </p:spPr>
        <p:txBody>
          <a:bodyPr spcFirstLastPara="1" wrap="square" lIns="91425" tIns="45700" rIns="91425" bIns="45700" anchor="ctr" anchorCtr="0">
            <a:noAutofit/>
          </a:bodyPr>
          <a:lstStyle/>
          <a:p>
            <a:pPr lvl="0"/>
            <a:r>
              <a:rPr lang="en-US" sz="1600">
                <a:solidFill>
                  <a:srgbClr val="6A80A3"/>
                </a:solidFill>
                <a:latin typeface="Arial Black"/>
                <a:ea typeface="Arial Black"/>
                <a:cs typeface="Arial Black"/>
                <a:sym typeface="Arial Black"/>
              </a:rPr>
              <a:t>Execution Oversight</a:t>
            </a:r>
          </a:p>
        </p:txBody>
      </p:sp>
      <p:sp>
        <p:nvSpPr>
          <p:cNvPr id="66" name="Freeform: Shape 65">
            <a:extLst>
              <a:ext uri="{FF2B5EF4-FFF2-40B4-BE49-F238E27FC236}">
                <a16:creationId xmlns:a16="http://schemas.microsoft.com/office/drawing/2014/main" id="{61CA8952-FD31-4E9E-8111-56B192114EBF}"/>
              </a:ext>
            </a:extLst>
          </p:cNvPr>
          <p:cNvSpPr>
            <a:spLocks noChangeAspect="1"/>
          </p:cNvSpPr>
          <p:nvPr/>
        </p:nvSpPr>
        <p:spPr bwMode="gray">
          <a:xfrm>
            <a:off x="6492874" y="2596738"/>
            <a:ext cx="1102256" cy="1083706"/>
          </a:xfrm>
          <a:custGeom>
            <a:avLst/>
            <a:gdLst>
              <a:gd name="connsiteX0" fmla="*/ 445389 w 485775"/>
              <a:gd name="connsiteY0" fmla="*/ 197644 h 485775"/>
              <a:gd name="connsiteX1" fmla="*/ 445389 w 485775"/>
              <a:gd name="connsiteY1" fmla="*/ 226219 h 485775"/>
              <a:gd name="connsiteX2" fmla="*/ 415671 w 485775"/>
              <a:gd name="connsiteY2" fmla="*/ 226219 h 485775"/>
              <a:gd name="connsiteX3" fmla="*/ 379190 w 485775"/>
              <a:gd name="connsiteY3" fmla="*/ 138303 h 485775"/>
              <a:gd name="connsiteX4" fmla="*/ 403003 w 485775"/>
              <a:gd name="connsiteY4" fmla="*/ 114491 h 485775"/>
              <a:gd name="connsiteX5" fmla="*/ 418338 w 485775"/>
              <a:gd name="connsiteY5" fmla="*/ 129826 h 485775"/>
              <a:gd name="connsiteX6" fmla="*/ 445294 w 485775"/>
              <a:gd name="connsiteY6" fmla="*/ 102870 h 485775"/>
              <a:gd name="connsiteX7" fmla="*/ 378619 w 485775"/>
              <a:gd name="connsiteY7" fmla="*/ 36195 h 485775"/>
              <a:gd name="connsiteX8" fmla="*/ 351663 w 485775"/>
              <a:gd name="connsiteY8" fmla="*/ 63151 h 485775"/>
              <a:gd name="connsiteX9" fmla="*/ 376142 w 485775"/>
              <a:gd name="connsiteY9" fmla="*/ 87630 h 485775"/>
              <a:gd name="connsiteX10" fmla="*/ 352330 w 485775"/>
              <a:gd name="connsiteY10" fmla="*/ 111443 h 485775"/>
              <a:gd name="connsiteX11" fmla="*/ 264414 w 485775"/>
              <a:gd name="connsiteY11" fmla="*/ 74962 h 485775"/>
              <a:gd name="connsiteX12" fmla="*/ 264414 w 485775"/>
              <a:gd name="connsiteY12" fmla="*/ 45244 h 485775"/>
              <a:gd name="connsiteX13" fmla="*/ 292989 w 485775"/>
              <a:gd name="connsiteY13" fmla="*/ 45244 h 485775"/>
              <a:gd name="connsiteX14" fmla="*/ 292989 w 485775"/>
              <a:gd name="connsiteY14" fmla="*/ 7144 h 485775"/>
              <a:gd name="connsiteX15" fmla="*/ 197739 w 485775"/>
              <a:gd name="connsiteY15" fmla="*/ 7144 h 485775"/>
              <a:gd name="connsiteX16" fmla="*/ 197739 w 485775"/>
              <a:gd name="connsiteY16" fmla="*/ 45244 h 485775"/>
              <a:gd name="connsiteX17" fmla="*/ 226314 w 485775"/>
              <a:gd name="connsiteY17" fmla="*/ 45244 h 485775"/>
              <a:gd name="connsiteX18" fmla="*/ 226314 w 485775"/>
              <a:gd name="connsiteY18" fmla="*/ 74962 h 485775"/>
              <a:gd name="connsiteX19" fmla="*/ 138398 w 485775"/>
              <a:gd name="connsiteY19" fmla="*/ 111443 h 485775"/>
              <a:gd name="connsiteX20" fmla="*/ 113919 w 485775"/>
              <a:gd name="connsiteY20" fmla="*/ 86963 h 485775"/>
              <a:gd name="connsiteX21" fmla="*/ 138875 w 485775"/>
              <a:gd name="connsiteY21" fmla="*/ 62008 h 485775"/>
              <a:gd name="connsiteX22" fmla="*/ 111919 w 485775"/>
              <a:gd name="connsiteY22" fmla="*/ 35052 h 485775"/>
              <a:gd name="connsiteX23" fmla="*/ 44577 w 485775"/>
              <a:gd name="connsiteY23" fmla="*/ 102394 h 485775"/>
              <a:gd name="connsiteX24" fmla="*/ 71533 w 485775"/>
              <a:gd name="connsiteY24" fmla="*/ 129350 h 485775"/>
              <a:gd name="connsiteX25" fmla="*/ 86963 w 485775"/>
              <a:gd name="connsiteY25" fmla="*/ 113919 h 485775"/>
              <a:gd name="connsiteX26" fmla="*/ 111443 w 485775"/>
              <a:gd name="connsiteY26" fmla="*/ 138398 h 485775"/>
              <a:gd name="connsiteX27" fmla="*/ 74962 w 485775"/>
              <a:gd name="connsiteY27" fmla="*/ 226314 h 485775"/>
              <a:gd name="connsiteX28" fmla="*/ 45244 w 485775"/>
              <a:gd name="connsiteY28" fmla="*/ 226314 h 485775"/>
              <a:gd name="connsiteX29" fmla="*/ 45244 w 485775"/>
              <a:gd name="connsiteY29" fmla="*/ 197739 h 485775"/>
              <a:gd name="connsiteX30" fmla="*/ 7144 w 485775"/>
              <a:gd name="connsiteY30" fmla="*/ 197739 h 485775"/>
              <a:gd name="connsiteX31" fmla="*/ 7144 w 485775"/>
              <a:gd name="connsiteY31" fmla="*/ 292989 h 485775"/>
              <a:gd name="connsiteX32" fmla="*/ 45244 w 485775"/>
              <a:gd name="connsiteY32" fmla="*/ 292989 h 485775"/>
              <a:gd name="connsiteX33" fmla="*/ 45244 w 485775"/>
              <a:gd name="connsiteY33" fmla="*/ 264414 h 485775"/>
              <a:gd name="connsiteX34" fmla="*/ 74962 w 485775"/>
              <a:gd name="connsiteY34" fmla="*/ 264414 h 485775"/>
              <a:gd name="connsiteX35" fmla="*/ 111443 w 485775"/>
              <a:gd name="connsiteY35" fmla="*/ 352330 h 485775"/>
              <a:gd name="connsiteX36" fmla="*/ 87058 w 485775"/>
              <a:gd name="connsiteY36" fmla="*/ 376714 h 485775"/>
              <a:gd name="connsiteX37" fmla="*/ 71342 w 485775"/>
              <a:gd name="connsiteY37" fmla="*/ 360998 h 485775"/>
              <a:gd name="connsiteX38" fmla="*/ 44387 w 485775"/>
              <a:gd name="connsiteY38" fmla="*/ 387953 h 485775"/>
              <a:gd name="connsiteX39" fmla="*/ 111728 w 485775"/>
              <a:gd name="connsiteY39" fmla="*/ 455295 h 485775"/>
              <a:gd name="connsiteX40" fmla="*/ 138684 w 485775"/>
              <a:gd name="connsiteY40" fmla="*/ 428339 h 485775"/>
              <a:gd name="connsiteX41" fmla="*/ 114014 w 485775"/>
              <a:gd name="connsiteY41" fmla="*/ 403670 h 485775"/>
              <a:gd name="connsiteX42" fmla="*/ 138398 w 485775"/>
              <a:gd name="connsiteY42" fmla="*/ 379286 h 485775"/>
              <a:gd name="connsiteX43" fmla="*/ 226314 w 485775"/>
              <a:gd name="connsiteY43" fmla="*/ 415766 h 485775"/>
              <a:gd name="connsiteX44" fmla="*/ 226314 w 485775"/>
              <a:gd name="connsiteY44" fmla="*/ 445294 h 485775"/>
              <a:gd name="connsiteX45" fmla="*/ 197739 w 485775"/>
              <a:gd name="connsiteY45" fmla="*/ 445294 h 485775"/>
              <a:gd name="connsiteX46" fmla="*/ 197739 w 485775"/>
              <a:gd name="connsiteY46" fmla="*/ 483394 h 485775"/>
              <a:gd name="connsiteX47" fmla="*/ 292989 w 485775"/>
              <a:gd name="connsiteY47" fmla="*/ 483394 h 485775"/>
              <a:gd name="connsiteX48" fmla="*/ 292989 w 485775"/>
              <a:gd name="connsiteY48" fmla="*/ 445294 h 485775"/>
              <a:gd name="connsiteX49" fmla="*/ 264414 w 485775"/>
              <a:gd name="connsiteY49" fmla="*/ 445294 h 485775"/>
              <a:gd name="connsiteX50" fmla="*/ 264414 w 485775"/>
              <a:gd name="connsiteY50" fmla="*/ 415576 h 485775"/>
              <a:gd name="connsiteX51" fmla="*/ 352330 w 485775"/>
              <a:gd name="connsiteY51" fmla="*/ 379095 h 485775"/>
              <a:gd name="connsiteX52" fmla="*/ 376428 w 485775"/>
              <a:gd name="connsiteY52" fmla="*/ 403193 h 485775"/>
              <a:gd name="connsiteX53" fmla="*/ 351092 w 485775"/>
              <a:gd name="connsiteY53" fmla="*/ 428530 h 485775"/>
              <a:gd name="connsiteX54" fmla="*/ 378047 w 485775"/>
              <a:gd name="connsiteY54" fmla="*/ 455486 h 485775"/>
              <a:gd name="connsiteX55" fmla="*/ 445389 w 485775"/>
              <a:gd name="connsiteY55" fmla="*/ 388144 h 485775"/>
              <a:gd name="connsiteX56" fmla="*/ 418433 w 485775"/>
              <a:gd name="connsiteY56" fmla="*/ 361188 h 485775"/>
              <a:gd name="connsiteX57" fmla="*/ 403384 w 485775"/>
              <a:gd name="connsiteY57" fmla="*/ 376238 h 485775"/>
              <a:gd name="connsiteX58" fmla="*/ 379286 w 485775"/>
              <a:gd name="connsiteY58" fmla="*/ 352139 h 485775"/>
              <a:gd name="connsiteX59" fmla="*/ 415766 w 485775"/>
              <a:gd name="connsiteY59" fmla="*/ 264224 h 485775"/>
              <a:gd name="connsiteX60" fmla="*/ 445484 w 485775"/>
              <a:gd name="connsiteY60" fmla="*/ 264224 h 485775"/>
              <a:gd name="connsiteX61" fmla="*/ 445484 w 485775"/>
              <a:gd name="connsiteY61" fmla="*/ 292799 h 485775"/>
              <a:gd name="connsiteX62" fmla="*/ 483584 w 485775"/>
              <a:gd name="connsiteY62" fmla="*/ 292799 h 485775"/>
              <a:gd name="connsiteX63" fmla="*/ 483584 w 485775"/>
              <a:gd name="connsiteY63" fmla="*/ 197644 h 485775"/>
              <a:gd name="connsiteX64" fmla="*/ 445389 w 485775"/>
              <a:gd name="connsiteY64" fmla="*/ 197644 h 485775"/>
              <a:gd name="connsiteX65" fmla="*/ 351949 w 485775"/>
              <a:gd name="connsiteY65" fmla="*/ 324993 h 485775"/>
              <a:gd name="connsiteX66" fmla="*/ 324993 w 485775"/>
              <a:gd name="connsiteY66" fmla="*/ 351949 h 485775"/>
              <a:gd name="connsiteX67" fmla="*/ 264319 w 485775"/>
              <a:gd name="connsiteY67" fmla="*/ 377095 h 485775"/>
              <a:gd name="connsiteX68" fmla="*/ 245269 w 485775"/>
              <a:gd name="connsiteY68" fmla="*/ 378619 h 485775"/>
              <a:gd name="connsiteX69" fmla="*/ 226219 w 485775"/>
              <a:gd name="connsiteY69" fmla="*/ 377095 h 485775"/>
              <a:gd name="connsiteX70" fmla="*/ 165545 w 485775"/>
              <a:gd name="connsiteY70" fmla="*/ 351949 h 485775"/>
              <a:gd name="connsiteX71" fmla="*/ 138589 w 485775"/>
              <a:gd name="connsiteY71" fmla="*/ 324993 h 485775"/>
              <a:gd name="connsiteX72" fmla="*/ 113443 w 485775"/>
              <a:gd name="connsiteY72" fmla="*/ 264319 h 485775"/>
              <a:gd name="connsiteX73" fmla="*/ 111919 w 485775"/>
              <a:gd name="connsiteY73" fmla="*/ 245269 h 485775"/>
              <a:gd name="connsiteX74" fmla="*/ 113443 w 485775"/>
              <a:gd name="connsiteY74" fmla="*/ 226219 h 485775"/>
              <a:gd name="connsiteX75" fmla="*/ 138589 w 485775"/>
              <a:gd name="connsiteY75" fmla="*/ 165544 h 485775"/>
              <a:gd name="connsiteX76" fmla="*/ 165545 w 485775"/>
              <a:gd name="connsiteY76" fmla="*/ 138589 h 485775"/>
              <a:gd name="connsiteX77" fmla="*/ 226219 w 485775"/>
              <a:gd name="connsiteY77" fmla="*/ 113443 h 485775"/>
              <a:gd name="connsiteX78" fmla="*/ 245269 w 485775"/>
              <a:gd name="connsiteY78" fmla="*/ 111919 h 485775"/>
              <a:gd name="connsiteX79" fmla="*/ 264319 w 485775"/>
              <a:gd name="connsiteY79" fmla="*/ 113443 h 485775"/>
              <a:gd name="connsiteX80" fmla="*/ 324993 w 485775"/>
              <a:gd name="connsiteY80" fmla="*/ 138589 h 485775"/>
              <a:gd name="connsiteX81" fmla="*/ 351949 w 485775"/>
              <a:gd name="connsiteY81" fmla="*/ 165544 h 485775"/>
              <a:gd name="connsiteX82" fmla="*/ 377095 w 485775"/>
              <a:gd name="connsiteY82" fmla="*/ 226219 h 485775"/>
              <a:gd name="connsiteX83" fmla="*/ 378619 w 485775"/>
              <a:gd name="connsiteY83" fmla="*/ 245269 h 485775"/>
              <a:gd name="connsiteX84" fmla="*/ 377095 w 485775"/>
              <a:gd name="connsiteY84" fmla="*/ 264319 h 485775"/>
              <a:gd name="connsiteX85" fmla="*/ 351949 w 485775"/>
              <a:gd name="connsiteY85" fmla="*/ 324993 h 485775"/>
              <a:gd name="connsiteX86" fmla="*/ 317849 w 485775"/>
              <a:gd name="connsiteY86" fmla="*/ 199739 h 485775"/>
              <a:gd name="connsiteX87" fmla="*/ 290894 w 485775"/>
              <a:gd name="connsiteY87" fmla="*/ 172784 h 485775"/>
              <a:gd name="connsiteX88" fmla="*/ 264414 w 485775"/>
              <a:gd name="connsiteY88" fmla="*/ 161735 h 485775"/>
              <a:gd name="connsiteX89" fmla="*/ 245364 w 485775"/>
              <a:gd name="connsiteY89" fmla="*/ 159544 h 485775"/>
              <a:gd name="connsiteX90" fmla="*/ 226314 w 485775"/>
              <a:gd name="connsiteY90" fmla="*/ 161735 h 485775"/>
              <a:gd name="connsiteX91" fmla="*/ 199835 w 485775"/>
              <a:gd name="connsiteY91" fmla="*/ 172784 h 485775"/>
              <a:gd name="connsiteX92" fmla="*/ 172879 w 485775"/>
              <a:gd name="connsiteY92" fmla="*/ 199739 h 485775"/>
              <a:gd name="connsiteX93" fmla="*/ 161830 w 485775"/>
              <a:gd name="connsiteY93" fmla="*/ 226219 h 485775"/>
              <a:gd name="connsiteX94" fmla="*/ 159639 w 485775"/>
              <a:gd name="connsiteY94" fmla="*/ 245269 h 485775"/>
              <a:gd name="connsiteX95" fmla="*/ 161830 w 485775"/>
              <a:gd name="connsiteY95" fmla="*/ 264319 h 485775"/>
              <a:gd name="connsiteX96" fmla="*/ 172879 w 485775"/>
              <a:gd name="connsiteY96" fmla="*/ 290798 h 485775"/>
              <a:gd name="connsiteX97" fmla="*/ 199835 w 485775"/>
              <a:gd name="connsiteY97" fmla="*/ 317754 h 485775"/>
              <a:gd name="connsiteX98" fmla="*/ 226314 w 485775"/>
              <a:gd name="connsiteY98" fmla="*/ 328803 h 485775"/>
              <a:gd name="connsiteX99" fmla="*/ 245364 w 485775"/>
              <a:gd name="connsiteY99" fmla="*/ 330994 h 485775"/>
              <a:gd name="connsiteX100" fmla="*/ 264414 w 485775"/>
              <a:gd name="connsiteY100" fmla="*/ 328803 h 485775"/>
              <a:gd name="connsiteX101" fmla="*/ 290894 w 485775"/>
              <a:gd name="connsiteY101" fmla="*/ 317754 h 485775"/>
              <a:gd name="connsiteX102" fmla="*/ 317849 w 485775"/>
              <a:gd name="connsiteY102" fmla="*/ 290798 h 485775"/>
              <a:gd name="connsiteX103" fmla="*/ 328898 w 485775"/>
              <a:gd name="connsiteY103" fmla="*/ 264319 h 485775"/>
              <a:gd name="connsiteX104" fmla="*/ 331089 w 485775"/>
              <a:gd name="connsiteY104" fmla="*/ 245269 h 485775"/>
              <a:gd name="connsiteX105" fmla="*/ 328898 w 485775"/>
              <a:gd name="connsiteY105" fmla="*/ 226219 h 485775"/>
              <a:gd name="connsiteX106" fmla="*/ 317849 w 485775"/>
              <a:gd name="connsiteY106" fmla="*/ 199739 h 485775"/>
              <a:gd name="connsiteX107" fmla="*/ 245364 w 485775"/>
              <a:gd name="connsiteY107" fmla="*/ 292894 h 485775"/>
              <a:gd name="connsiteX108" fmla="*/ 228029 w 485775"/>
              <a:gd name="connsiteY108" fmla="*/ 289560 h 485775"/>
              <a:gd name="connsiteX109" fmla="*/ 226314 w 485775"/>
              <a:gd name="connsiteY109" fmla="*/ 288893 h 485775"/>
              <a:gd name="connsiteX110" fmla="*/ 201740 w 485775"/>
              <a:gd name="connsiteY110" fmla="*/ 264319 h 485775"/>
              <a:gd name="connsiteX111" fmla="*/ 201073 w 485775"/>
              <a:gd name="connsiteY111" fmla="*/ 262604 h 485775"/>
              <a:gd name="connsiteX112" fmla="*/ 197739 w 485775"/>
              <a:gd name="connsiteY112" fmla="*/ 245269 h 485775"/>
              <a:gd name="connsiteX113" fmla="*/ 201073 w 485775"/>
              <a:gd name="connsiteY113" fmla="*/ 227933 h 485775"/>
              <a:gd name="connsiteX114" fmla="*/ 201740 w 485775"/>
              <a:gd name="connsiteY114" fmla="*/ 226219 h 485775"/>
              <a:gd name="connsiteX115" fmla="*/ 226314 w 485775"/>
              <a:gd name="connsiteY115" fmla="*/ 201644 h 485775"/>
              <a:gd name="connsiteX116" fmla="*/ 228029 w 485775"/>
              <a:gd name="connsiteY116" fmla="*/ 200978 h 485775"/>
              <a:gd name="connsiteX117" fmla="*/ 245364 w 485775"/>
              <a:gd name="connsiteY117" fmla="*/ 197644 h 485775"/>
              <a:gd name="connsiteX118" fmla="*/ 262700 w 485775"/>
              <a:gd name="connsiteY118" fmla="*/ 200978 h 485775"/>
              <a:gd name="connsiteX119" fmla="*/ 264414 w 485775"/>
              <a:gd name="connsiteY119" fmla="*/ 201644 h 485775"/>
              <a:gd name="connsiteX120" fmla="*/ 288989 w 485775"/>
              <a:gd name="connsiteY120" fmla="*/ 226219 h 485775"/>
              <a:gd name="connsiteX121" fmla="*/ 289655 w 485775"/>
              <a:gd name="connsiteY121" fmla="*/ 227933 h 485775"/>
              <a:gd name="connsiteX122" fmla="*/ 292989 w 485775"/>
              <a:gd name="connsiteY122" fmla="*/ 245269 h 485775"/>
              <a:gd name="connsiteX123" fmla="*/ 289655 w 485775"/>
              <a:gd name="connsiteY123" fmla="*/ 262604 h 485775"/>
              <a:gd name="connsiteX124" fmla="*/ 288989 w 485775"/>
              <a:gd name="connsiteY124" fmla="*/ 264319 h 485775"/>
              <a:gd name="connsiteX125" fmla="*/ 264414 w 485775"/>
              <a:gd name="connsiteY125" fmla="*/ 288893 h 485775"/>
              <a:gd name="connsiteX126" fmla="*/ 262700 w 485775"/>
              <a:gd name="connsiteY126" fmla="*/ 289560 h 485775"/>
              <a:gd name="connsiteX127" fmla="*/ 245364 w 485775"/>
              <a:gd name="connsiteY127" fmla="*/ 29289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85775" h="485775">
                <a:moveTo>
                  <a:pt x="445389" y="197644"/>
                </a:moveTo>
                <a:lnTo>
                  <a:pt x="445389" y="226219"/>
                </a:lnTo>
                <a:lnTo>
                  <a:pt x="415671" y="226219"/>
                </a:lnTo>
                <a:cubicBezTo>
                  <a:pt x="412052" y="193167"/>
                  <a:pt x="398907" y="162973"/>
                  <a:pt x="379190" y="138303"/>
                </a:cubicBezTo>
                <a:lnTo>
                  <a:pt x="403003" y="114491"/>
                </a:lnTo>
                <a:lnTo>
                  <a:pt x="418338" y="129826"/>
                </a:lnTo>
                <a:lnTo>
                  <a:pt x="445294" y="102870"/>
                </a:lnTo>
                <a:lnTo>
                  <a:pt x="378619" y="36195"/>
                </a:lnTo>
                <a:lnTo>
                  <a:pt x="351663" y="63151"/>
                </a:lnTo>
                <a:lnTo>
                  <a:pt x="376142" y="87630"/>
                </a:lnTo>
                <a:lnTo>
                  <a:pt x="352330" y="111443"/>
                </a:lnTo>
                <a:cubicBezTo>
                  <a:pt x="327660" y="91726"/>
                  <a:pt x="297466" y="78677"/>
                  <a:pt x="264414" y="74962"/>
                </a:cubicBezTo>
                <a:lnTo>
                  <a:pt x="264414" y="45244"/>
                </a:lnTo>
                <a:lnTo>
                  <a:pt x="292989" y="45244"/>
                </a:lnTo>
                <a:lnTo>
                  <a:pt x="292989" y="7144"/>
                </a:lnTo>
                <a:lnTo>
                  <a:pt x="197739" y="7144"/>
                </a:lnTo>
                <a:lnTo>
                  <a:pt x="197739" y="45244"/>
                </a:lnTo>
                <a:lnTo>
                  <a:pt x="226314" y="45244"/>
                </a:lnTo>
                <a:lnTo>
                  <a:pt x="226314" y="74962"/>
                </a:lnTo>
                <a:cubicBezTo>
                  <a:pt x="193262" y="78581"/>
                  <a:pt x="163068" y="91726"/>
                  <a:pt x="138398" y="111443"/>
                </a:cubicBezTo>
                <a:lnTo>
                  <a:pt x="113919" y="86963"/>
                </a:lnTo>
                <a:lnTo>
                  <a:pt x="138875" y="62008"/>
                </a:lnTo>
                <a:lnTo>
                  <a:pt x="111919" y="35052"/>
                </a:lnTo>
                <a:lnTo>
                  <a:pt x="44577" y="102394"/>
                </a:lnTo>
                <a:lnTo>
                  <a:pt x="71533" y="129350"/>
                </a:lnTo>
                <a:lnTo>
                  <a:pt x="86963" y="113919"/>
                </a:lnTo>
                <a:lnTo>
                  <a:pt x="111443" y="138398"/>
                </a:lnTo>
                <a:cubicBezTo>
                  <a:pt x="91726" y="163068"/>
                  <a:pt x="78677" y="193262"/>
                  <a:pt x="74962" y="226314"/>
                </a:cubicBezTo>
                <a:lnTo>
                  <a:pt x="45244" y="226314"/>
                </a:lnTo>
                <a:lnTo>
                  <a:pt x="45244" y="197739"/>
                </a:lnTo>
                <a:lnTo>
                  <a:pt x="7144" y="197739"/>
                </a:lnTo>
                <a:lnTo>
                  <a:pt x="7144" y="292989"/>
                </a:lnTo>
                <a:lnTo>
                  <a:pt x="45244" y="292989"/>
                </a:lnTo>
                <a:lnTo>
                  <a:pt x="45244" y="264414"/>
                </a:lnTo>
                <a:lnTo>
                  <a:pt x="74962" y="264414"/>
                </a:lnTo>
                <a:cubicBezTo>
                  <a:pt x="78581" y="297466"/>
                  <a:pt x="91726" y="327660"/>
                  <a:pt x="111443" y="352330"/>
                </a:cubicBezTo>
                <a:lnTo>
                  <a:pt x="87058" y="376714"/>
                </a:lnTo>
                <a:lnTo>
                  <a:pt x="71342" y="360998"/>
                </a:lnTo>
                <a:lnTo>
                  <a:pt x="44387" y="387953"/>
                </a:lnTo>
                <a:lnTo>
                  <a:pt x="111728" y="455295"/>
                </a:lnTo>
                <a:lnTo>
                  <a:pt x="138684" y="428339"/>
                </a:lnTo>
                <a:lnTo>
                  <a:pt x="114014" y="403670"/>
                </a:lnTo>
                <a:lnTo>
                  <a:pt x="138398" y="379286"/>
                </a:lnTo>
                <a:cubicBezTo>
                  <a:pt x="163068" y="399002"/>
                  <a:pt x="193262" y="412051"/>
                  <a:pt x="226314" y="415766"/>
                </a:cubicBezTo>
                <a:lnTo>
                  <a:pt x="226314" y="445294"/>
                </a:lnTo>
                <a:lnTo>
                  <a:pt x="197739" y="445294"/>
                </a:lnTo>
                <a:lnTo>
                  <a:pt x="197739" y="483394"/>
                </a:lnTo>
                <a:lnTo>
                  <a:pt x="292989" y="483394"/>
                </a:lnTo>
                <a:lnTo>
                  <a:pt x="292989" y="445294"/>
                </a:lnTo>
                <a:lnTo>
                  <a:pt x="264414" y="445294"/>
                </a:lnTo>
                <a:lnTo>
                  <a:pt x="264414" y="415576"/>
                </a:lnTo>
                <a:cubicBezTo>
                  <a:pt x="297466" y="411956"/>
                  <a:pt x="327660" y="398812"/>
                  <a:pt x="352330" y="379095"/>
                </a:cubicBezTo>
                <a:lnTo>
                  <a:pt x="376428" y="403193"/>
                </a:lnTo>
                <a:lnTo>
                  <a:pt x="351092" y="428530"/>
                </a:lnTo>
                <a:lnTo>
                  <a:pt x="378047" y="455486"/>
                </a:lnTo>
                <a:lnTo>
                  <a:pt x="445389" y="388144"/>
                </a:lnTo>
                <a:lnTo>
                  <a:pt x="418433" y="361188"/>
                </a:lnTo>
                <a:lnTo>
                  <a:pt x="403384" y="376238"/>
                </a:lnTo>
                <a:lnTo>
                  <a:pt x="379286" y="352139"/>
                </a:lnTo>
                <a:cubicBezTo>
                  <a:pt x="399002" y="327470"/>
                  <a:pt x="412052" y="297275"/>
                  <a:pt x="415766" y="264224"/>
                </a:cubicBezTo>
                <a:lnTo>
                  <a:pt x="445484" y="264224"/>
                </a:lnTo>
                <a:lnTo>
                  <a:pt x="445484" y="292799"/>
                </a:lnTo>
                <a:lnTo>
                  <a:pt x="483584" y="292799"/>
                </a:lnTo>
                <a:lnTo>
                  <a:pt x="483584" y="197644"/>
                </a:lnTo>
                <a:lnTo>
                  <a:pt x="445389" y="197644"/>
                </a:lnTo>
                <a:close/>
                <a:moveTo>
                  <a:pt x="351949" y="324993"/>
                </a:moveTo>
                <a:cubicBezTo>
                  <a:pt x="344329" y="335185"/>
                  <a:pt x="335185" y="344234"/>
                  <a:pt x="324993" y="351949"/>
                </a:cubicBezTo>
                <a:cubicBezTo>
                  <a:pt x="307562" y="364998"/>
                  <a:pt x="286893" y="373856"/>
                  <a:pt x="264319" y="377095"/>
                </a:cubicBezTo>
                <a:cubicBezTo>
                  <a:pt x="258032" y="377952"/>
                  <a:pt x="251746" y="378619"/>
                  <a:pt x="245269" y="378619"/>
                </a:cubicBezTo>
                <a:cubicBezTo>
                  <a:pt x="238792" y="378619"/>
                  <a:pt x="232505" y="377952"/>
                  <a:pt x="226219" y="377095"/>
                </a:cubicBezTo>
                <a:cubicBezTo>
                  <a:pt x="203645" y="373856"/>
                  <a:pt x="182975" y="364998"/>
                  <a:pt x="165545" y="351949"/>
                </a:cubicBezTo>
                <a:cubicBezTo>
                  <a:pt x="155353" y="344329"/>
                  <a:pt x="146304" y="335185"/>
                  <a:pt x="138589" y="324993"/>
                </a:cubicBezTo>
                <a:cubicBezTo>
                  <a:pt x="125540" y="307562"/>
                  <a:pt x="116681" y="286893"/>
                  <a:pt x="113443" y="264319"/>
                </a:cubicBezTo>
                <a:cubicBezTo>
                  <a:pt x="112586" y="258032"/>
                  <a:pt x="111919" y="251746"/>
                  <a:pt x="111919" y="245269"/>
                </a:cubicBezTo>
                <a:cubicBezTo>
                  <a:pt x="111919" y="238792"/>
                  <a:pt x="112586" y="232505"/>
                  <a:pt x="113443" y="226219"/>
                </a:cubicBezTo>
                <a:cubicBezTo>
                  <a:pt x="116681" y="203644"/>
                  <a:pt x="125540" y="182975"/>
                  <a:pt x="138589" y="165544"/>
                </a:cubicBezTo>
                <a:cubicBezTo>
                  <a:pt x="146209" y="155353"/>
                  <a:pt x="155353" y="146304"/>
                  <a:pt x="165545" y="138589"/>
                </a:cubicBezTo>
                <a:cubicBezTo>
                  <a:pt x="182975" y="125540"/>
                  <a:pt x="203645" y="116681"/>
                  <a:pt x="226219" y="113443"/>
                </a:cubicBezTo>
                <a:cubicBezTo>
                  <a:pt x="232505" y="112586"/>
                  <a:pt x="238792" y="111919"/>
                  <a:pt x="245269" y="111919"/>
                </a:cubicBezTo>
                <a:cubicBezTo>
                  <a:pt x="251746" y="111919"/>
                  <a:pt x="258032" y="112586"/>
                  <a:pt x="264319" y="113443"/>
                </a:cubicBezTo>
                <a:cubicBezTo>
                  <a:pt x="286893" y="116681"/>
                  <a:pt x="307562" y="125540"/>
                  <a:pt x="324993" y="138589"/>
                </a:cubicBezTo>
                <a:cubicBezTo>
                  <a:pt x="335185" y="146209"/>
                  <a:pt x="344234" y="155353"/>
                  <a:pt x="351949" y="165544"/>
                </a:cubicBezTo>
                <a:cubicBezTo>
                  <a:pt x="364998" y="182975"/>
                  <a:pt x="373856" y="203644"/>
                  <a:pt x="377095" y="226219"/>
                </a:cubicBezTo>
                <a:cubicBezTo>
                  <a:pt x="377952" y="232505"/>
                  <a:pt x="378619" y="238792"/>
                  <a:pt x="378619" y="245269"/>
                </a:cubicBezTo>
                <a:cubicBezTo>
                  <a:pt x="378619" y="251746"/>
                  <a:pt x="377952" y="258032"/>
                  <a:pt x="377095" y="264319"/>
                </a:cubicBezTo>
                <a:cubicBezTo>
                  <a:pt x="373952" y="286893"/>
                  <a:pt x="365093" y="307562"/>
                  <a:pt x="351949" y="324993"/>
                </a:cubicBezTo>
                <a:close/>
                <a:moveTo>
                  <a:pt x="317849" y="199739"/>
                </a:moveTo>
                <a:cubicBezTo>
                  <a:pt x="310991" y="188881"/>
                  <a:pt x="301752" y="179642"/>
                  <a:pt x="290894" y="172784"/>
                </a:cubicBezTo>
                <a:cubicBezTo>
                  <a:pt x="282893" y="167735"/>
                  <a:pt x="273939" y="163925"/>
                  <a:pt x="264414" y="161735"/>
                </a:cubicBezTo>
                <a:cubicBezTo>
                  <a:pt x="258318" y="160306"/>
                  <a:pt x="251936" y="159544"/>
                  <a:pt x="245364" y="159544"/>
                </a:cubicBezTo>
                <a:cubicBezTo>
                  <a:pt x="238792" y="159544"/>
                  <a:pt x="232410" y="160306"/>
                  <a:pt x="226314" y="161735"/>
                </a:cubicBezTo>
                <a:cubicBezTo>
                  <a:pt x="216789" y="163925"/>
                  <a:pt x="207836" y="167640"/>
                  <a:pt x="199835" y="172784"/>
                </a:cubicBezTo>
                <a:cubicBezTo>
                  <a:pt x="188976" y="179642"/>
                  <a:pt x="179737" y="188881"/>
                  <a:pt x="172879" y="199739"/>
                </a:cubicBezTo>
                <a:cubicBezTo>
                  <a:pt x="167831" y="207740"/>
                  <a:pt x="164021" y="216694"/>
                  <a:pt x="161830" y="226219"/>
                </a:cubicBezTo>
                <a:cubicBezTo>
                  <a:pt x="160401" y="232315"/>
                  <a:pt x="159639" y="238697"/>
                  <a:pt x="159639" y="245269"/>
                </a:cubicBezTo>
                <a:cubicBezTo>
                  <a:pt x="159639" y="251841"/>
                  <a:pt x="160401" y="258223"/>
                  <a:pt x="161830" y="264319"/>
                </a:cubicBezTo>
                <a:cubicBezTo>
                  <a:pt x="164021" y="273844"/>
                  <a:pt x="167735" y="282797"/>
                  <a:pt x="172879" y="290798"/>
                </a:cubicBezTo>
                <a:cubicBezTo>
                  <a:pt x="179737" y="301657"/>
                  <a:pt x="188976" y="310896"/>
                  <a:pt x="199835" y="317754"/>
                </a:cubicBezTo>
                <a:cubicBezTo>
                  <a:pt x="207836" y="322802"/>
                  <a:pt x="216789" y="326612"/>
                  <a:pt x="226314" y="328803"/>
                </a:cubicBezTo>
                <a:cubicBezTo>
                  <a:pt x="232410" y="330232"/>
                  <a:pt x="238792" y="330994"/>
                  <a:pt x="245364" y="330994"/>
                </a:cubicBezTo>
                <a:cubicBezTo>
                  <a:pt x="251936" y="330994"/>
                  <a:pt x="258318" y="330232"/>
                  <a:pt x="264414" y="328803"/>
                </a:cubicBezTo>
                <a:cubicBezTo>
                  <a:pt x="273939" y="326612"/>
                  <a:pt x="282893" y="322898"/>
                  <a:pt x="290894" y="317754"/>
                </a:cubicBezTo>
                <a:cubicBezTo>
                  <a:pt x="301752" y="310896"/>
                  <a:pt x="310991" y="301657"/>
                  <a:pt x="317849" y="290798"/>
                </a:cubicBezTo>
                <a:cubicBezTo>
                  <a:pt x="322898" y="282797"/>
                  <a:pt x="326708" y="273844"/>
                  <a:pt x="328898" y="264319"/>
                </a:cubicBezTo>
                <a:cubicBezTo>
                  <a:pt x="330327" y="258223"/>
                  <a:pt x="331089" y="251841"/>
                  <a:pt x="331089" y="245269"/>
                </a:cubicBezTo>
                <a:cubicBezTo>
                  <a:pt x="331089" y="238697"/>
                  <a:pt x="330327" y="232315"/>
                  <a:pt x="328898" y="226219"/>
                </a:cubicBezTo>
                <a:cubicBezTo>
                  <a:pt x="326708" y="216694"/>
                  <a:pt x="322898" y="207740"/>
                  <a:pt x="317849" y="199739"/>
                </a:cubicBezTo>
                <a:close/>
                <a:moveTo>
                  <a:pt x="245364" y="292894"/>
                </a:moveTo>
                <a:cubicBezTo>
                  <a:pt x="239268" y="292894"/>
                  <a:pt x="233458" y="291656"/>
                  <a:pt x="228029" y="289560"/>
                </a:cubicBezTo>
                <a:cubicBezTo>
                  <a:pt x="227457" y="289370"/>
                  <a:pt x="226886" y="289179"/>
                  <a:pt x="226314" y="288893"/>
                </a:cubicBezTo>
                <a:cubicBezTo>
                  <a:pt x="215360" y="284131"/>
                  <a:pt x="206597" y="275273"/>
                  <a:pt x="201740" y="264319"/>
                </a:cubicBezTo>
                <a:cubicBezTo>
                  <a:pt x="201454" y="263747"/>
                  <a:pt x="201263" y="263176"/>
                  <a:pt x="201073" y="262604"/>
                </a:cubicBezTo>
                <a:cubicBezTo>
                  <a:pt x="198977" y="257270"/>
                  <a:pt x="197739" y="251365"/>
                  <a:pt x="197739" y="245269"/>
                </a:cubicBezTo>
                <a:cubicBezTo>
                  <a:pt x="197739" y="239173"/>
                  <a:pt x="198977" y="233363"/>
                  <a:pt x="201073" y="227933"/>
                </a:cubicBezTo>
                <a:cubicBezTo>
                  <a:pt x="201263" y="227362"/>
                  <a:pt x="201454" y="226790"/>
                  <a:pt x="201740" y="226219"/>
                </a:cubicBezTo>
                <a:cubicBezTo>
                  <a:pt x="206502" y="215265"/>
                  <a:pt x="215360" y="206502"/>
                  <a:pt x="226314" y="201644"/>
                </a:cubicBezTo>
                <a:cubicBezTo>
                  <a:pt x="226886" y="201359"/>
                  <a:pt x="227457" y="201168"/>
                  <a:pt x="228029" y="200978"/>
                </a:cubicBezTo>
                <a:cubicBezTo>
                  <a:pt x="233363" y="198882"/>
                  <a:pt x="239268" y="197644"/>
                  <a:pt x="245364" y="197644"/>
                </a:cubicBezTo>
                <a:cubicBezTo>
                  <a:pt x="251460" y="197644"/>
                  <a:pt x="257270" y="198882"/>
                  <a:pt x="262700" y="200978"/>
                </a:cubicBezTo>
                <a:cubicBezTo>
                  <a:pt x="263271" y="201168"/>
                  <a:pt x="263843" y="201359"/>
                  <a:pt x="264414" y="201644"/>
                </a:cubicBezTo>
                <a:cubicBezTo>
                  <a:pt x="275368" y="206407"/>
                  <a:pt x="284131" y="215265"/>
                  <a:pt x="288989" y="226219"/>
                </a:cubicBezTo>
                <a:cubicBezTo>
                  <a:pt x="289274" y="226790"/>
                  <a:pt x="289465" y="227362"/>
                  <a:pt x="289655" y="227933"/>
                </a:cubicBezTo>
                <a:cubicBezTo>
                  <a:pt x="291751" y="233267"/>
                  <a:pt x="292989" y="239173"/>
                  <a:pt x="292989" y="245269"/>
                </a:cubicBezTo>
                <a:cubicBezTo>
                  <a:pt x="292989" y="251365"/>
                  <a:pt x="291751" y="257175"/>
                  <a:pt x="289655" y="262604"/>
                </a:cubicBezTo>
                <a:cubicBezTo>
                  <a:pt x="289465" y="263176"/>
                  <a:pt x="289274" y="263747"/>
                  <a:pt x="288989" y="264319"/>
                </a:cubicBezTo>
                <a:cubicBezTo>
                  <a:pt x="284226" y="275273"/>
                  <a:pt x="275368" y="284036"/>
                  <a:pt x="264414" y="288893"/>
                </a:cubicBezTo>
                <a:cubicBezTo>
                  <a:pt x="263843" y="289179"/>
                  <a:pt x="263271" y="289370"/>
                  <a:pt x="262700" y="289560"/>
                </a:cubicBezTo>
                <a:cubicBezTo>
                  <a:pt x="257270" y="291656"/>
                  <a:pt x="251460" y="292894"/>
                  <a:pt x="245364" y="292894"/>
                </a:cubicBezTo>
                <a:close/>
              </a:path>
            </a:pathLst>
          </a:custGeom>
          <a:solidFill>
            <a:srgbClr val="009AD7"/>
          </a:solidFill>
          <a:ln w="9525" cap="flat">
            <a:noFill/>
            <a:prstDash val="solid"/>
            <a:miter/>
          </a:ln>
        </p:spPr>
        <p:txBody>
          <a:bodyPr rtlCol="0" anchor="ctr"/>
          <a:lstStyle/>
          <a:p>
            <a:endParaRPr lang="en-US"/>
          </a:p>
        </p:txBody>
      </p:sp>
      <p:sp>
        <p:nvSpPr>
          <p:cNvPr id="67" name="Google Shape;391;p6">
            <a:extLst>
              <a:ext uri="{FF2B5EF4-FFF2-40B4-BE49-F238E27FC236}">
                <a16:creationId xmlns:a16="http://schemas.microsoft.com/office/drawing/2014/main" id="{62547D40-9565-4F63-B675-28137D1F881C}"/>
              </a:ext>
            </a:extLst>
          </p:cNvPr>
          <p:cNvSpPr/>
          <p:nvPr/>
        </p:nvSpPr>
        <p:spPr>
          <a:xfrm>
            <a:off x="6068941" y="3806643"/>
            <a:ext cx="1950122" cy="411280"/>
          </a:xfrm>
          <a:prstGeom prst="rect">
            <a:avLst/>
          </a:prstGeom>
          <a:noFill/>
          <a:ln>
            <a:noFill/>
          </a:ln>
        </p:spPr>
        <p:txBody>
          <a:bodyPr spcFirstLastPara="1" wrap="square" lIns="91425" tIns="45700" rIns="91425" bIns="45700" anchor="ctr" anchorCtr="0">
            <a:noAutofit/>
          </a:bodyPr>
          <a:lstStyle/>
          <a:p>
            <a:pPr lvl="0" algn="ctr"/>
            <a:r>
              <a:rPr lang="en-US" sz="1600">
                <a:solidFill>
                  <a:srgbClr val="6A80A3"/>
                </a:solidFill>
                <a:latin typeface="Arial Black"/>
                <a:ea typeface="Arial Black"/>
                <a:cs typeface="Arial Black"/>
                <a:sym typeface="Arial Black"/>
              </a:rPr>
              <a:t>Cross Tracking System Hub</a:t>
            </a:r>
          </a:p>
        </p:txBody>
      </p:sp>
      <p:sp>
        <p:nvSpPr>
          <p:cNvPr id="69" name="TextBox 68">
            <a:extLst>
              <a:ext uri="{FF2B5EF4-FFF2-40B4-BE49-F238E27FC236}">
                <a16:creationId xmlns:a16="http://schemas.microsoft.com/office/drawing/2014/main" id="{871FF37C-7ACB-4FD5-B04B-A7B978FC34CF}"/>
              </a:ext>
            </a:extLst>
          </p:cNvPr>
          <p:cNvSpPr txBox="1"/>
          <p:nvPr/>
        </p:nvSpPr>
        <p:spPr>
          <a:xfrm>
            <a:off x="3202479" y="3787181"/>
            <a:ext cx="1374617" cy="1292662"/>
          </a:xfrm>
          <a:prstGeom prst="rect">
            <a:avLst/>
          </a:prstGeom>
          <a:noFill/>
        </p:spPr>
        <p:txBody>
          <a:bodyPr wrap="square" lIns="0" tIns="0" rIns="0" bIns="0" rtlCol="0">
            <a:spAutoFit/>
          </a:bodyPr>
          <a:lstStyle/>
          <a:p>
            <a:pPr marL="168275" indent="-168275">
              <a:buFont typeface="Wingdings" panose="05000000000000000000" pitchFamily="2" charset="2"/>
              <a:buChar char="§"/>
            </a:pPr>
            <a:r>
              <a:rPr lang="en-US" sz="1400"/>
              <a:t>Organizational Change Management</a:t>
            </a:r>
          </a:p>
          <a:p>
            <a:pPr marL="168275" indent="-168275">
              <a:buFont typeface="Wingdings" panose="05000000000000000000" pitchFamily="2" charset="2"/>
              <a:buChar char="§"/>
            </a:pPr>
            <a:r>
              <a:rPr lang="en-US" sz="1400"/>
              <a:t>Compliance</a:t>
            </a:r>
          </a:p>
          <a:p>
            <a:pPr marL="168275" indent="-168275">
              <a:buFont typeface="Wingdings" panose="05000000000000000000" pitchFamily="2" charset="2"/>
              <a:buChar char="§"/>
            </a:pPr>
            <a:r>
              <a:rPr lang="en-US" sz="1400"/>
              <a:t>Skills and Training</a:t>
            </a:r>
          </a:p>
        </p:txBody>
      </p:sp>
      <p:sp>
        <p:nvSpPr>
          <p:cNvPr id="70" name="TextBox 69">
            <a:extLst>
              <a:ext uri="{FF2B5EF4-FFF2-40B4-BE49-F238E27FC236}">
                <a16:creationId xmlns:a16="http://schemas.microsoft.com/office/drawing/2014/main" id="{A0B69825-A5F2-4D13-98A6-266066D59B89}"/>
              </a:ext>
            </a:extLst>
          </p:cNvPr>
          <p:cNvSpPr txBox="1"/>
          <p:nvPr/>
        </p:nvSpPr>
        <p:spPr>
          <a:xfrm>
            <a:off x="4580156" y="1684540"/>
            <a:ext cx="1343657" cy="430887"/>
          </a:xfrm>
          <a:prstGeom prst="rect">
            <a:avLst/>
          </a:prstGeom>
          <a:noFill/>
        </p:spPr>
        <p:txBody>
          <a:bodyPr wrap="square" lIns="0" tIns="0" rIns="0" bIns="0" rtlCol="0">
            <a:spAutoFit/>
          </a:bodyPr>
          <a:lstStyle/>
          <a:p>
            <a:pPr marL="168275" indent="-168275">
              <a:buFont typeface="Wingdings" panose="05000000000000000000" pitchFamily="2" charset="2"/>
              <a:buChar char="§"/>
            </a:pPr>
            <a:r>
              <a:rPr lang="en-US" sz="1400"/>
              <a:t>Taxonomy</a:t>
            </a:r>
          </a:p>
          <a:p>
            <a:pPr marL="168275" indent="-168275">
              <a:buFont typeface="Wingdings" panose="05000000000000000000" pitchFamily="2" charset="2"/>
              <a:buChar char="§"/>
            </a:pPr>
            <a:r>
              <a:rPr lang="en-US" sz="1400"/>
              <a:t>Processes</a:t>
            </a:r>
          </a:p>
        </p:txBody>
      </p:sp>
      <p:sp>
        <p:nvSpPr>
          <p:cNvPr id="71" name="TextBox 70">
            <a:extLst>
              <a:ext uri="{FF2B5EF4-FFF2-40B4-BE49-F238E27FC236}">
                <a16:creationId xmlns:a16="http://schemas.microsoft.com/office/drawing/2014/main" id="{92B51781-E5A0-43C4-A3D1-1F8FE3D95630}"/>
              </a:ext>
            </a:extLst>
          </p:cNvPr>
          <p:cNvSpPr txBox="1"/>
          <p:nvPr/>
        </p:nvSpPr>
        <p:spPr>
          <a:xfrm>
            <a:off x="3250383" y="2678287"/>
            <a:ext cx="1945616" cy="430887"/>
          </a:xfrm>
          <a:prstGeom prst="rect">
            <a:avLst/>
          </a:prstGeom>
          <a:noFill/>
        </p:spPr>
        <p:txBody>
          <a:bodyPr wrap="square" lIns="0" tIns="0" rIns="0" bIns="0" rtlCol="0">
            <a:spAutoFit/>
          </a:bodyPr>
          <a:lstStyle/>
          <a:p>
            <a:pPr marL="168275" indent="-168275">
              <a:buFont typeface="Wingdings" panose="05000000000000000000" pitchFamily="2" charset="2"/>
              <a:buChar char="§"/>
            </a:pPr>
            <a:r>
              <a:rPr lang="en-US" sz="1400"/>
              <a:t>Steering Committee</a:t>
            </a:r>
          </a:p>
          <a:p>
            <a:pPr marL="168275" indent="-168275">
              <a:buFont typeface="Wingdings" panose="05000000000000000000" pitchFamily="2" charset="2"/>
              <a:buChar char="§"/>
            </a:pPr>
            <a:r>
              <a:rPr lang="en-US" sz="1400"/>
              <a:t>Policies &amp; Standards</a:t>
            </a:r>
          </a:p>
        </p:txBody>
      </p:sp>
      <p:sp>
        <p:nvSpPr>
          <p:cNvPr id="25" name="Rectangle 24">
            <a:extLst>
              <a:ext uri="{FF2B5EF4-FFF2-40B4-BE49-F238E27FC236}">
                <a16:creationId xmlns:a16="http://schemas.microsoft.com/office/drawing/2014/main" id="{A7961A85-D10B-4255-90F3-89FD69C98D7E}"/>
              </a:ext>
            </a:extLst>
          </p:cNvPr>
          <p:cNvSpPr/>
          <p:nvPr/>
        </p:nvSpPr>
        <p:spPr bwMode="gray">
          <a:xfrm rot="16200000">
            <a:off x="572941" y="3350652"/>
            <a:ext cx="4157278" cy="522515"/>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t>Cross Tracking System Integration</a:t>
            </a:r>
          </a:p>
        </p:txBody>
      </p:sp>
      <p:sp>
        <p:nvSpPr>
          <p:cNvPr id="26" name="TextBox 25">
            <a:extLst>
              <a:ext uri="{FF2B5EF4-FFF2-40B4-BE49-F238E27FC236}">
                <a16:creationId xmlns:a16="http://schemas.microsoft.com/office/drawing/2014/main" id="{F4640A39-6F1C-4B0D-90D2-297B5101B711}"/>
              </a:ext>
            </a:extLst>
          </p:cNvPr>
          <p:cNvSpPr txBox="1"/>
          <p:nvPr/>
        </p:nvSpPr>
        <p:spPr>
          <a:xfrm>
            <a:off x="9340810" y="3680444"/>
            <a:ext cx="1725312" cy="861774"/>
          </a:xfrm>
          <a:prstGeom prst="rect">
            <a:avLst/>
          </a:prstGeom>
          <a:noFill/>
        </p:spPr>
        <p:txBody>
          <a:bodyPr wrap="square" lIns="0" tIns="0" rIns="0" bIns="0" rtlCol="0">
            <a:spAutoFit/>
          </a:bodyPr>
          <a:lstStyle/>
          <a:p>
            <a:pPr marL="168275" indent="-168275">
              <a:buFont typeface="Wingdings" panose="05000000000000000000" pitchFamily="2" charset="2"/>
              <a:buChar char="§"/>
            </a:pPr>
            <a:r>
              <a:rPr lang="en-US" sz="1400"/>
              <a:t>Integrated data repository</a:t>
            </a:r>
          </a:p>
          <a:p>
            <a:pPr marL="168275" indent="-168275">
              <a:buFont typeface="Wingdings" panose="05000000000000000000" pitchFamily="2" charset="2"/>
              <a:buChar char="§"/>
            </a:pPr>
            <a:r>
              <a:rPr lang="en-US" sz="1400"/>
              <a:t>Integrated reporting and analytics</a:t>
            </a:r>
          </a:p>
        </p:txBody>
      </p:sp>
    </p:spTree>
    <p:extLst>
      <p:ext uri="{BB962C8B-B14F-4D97-AF65-F5344CB8AC3E}">
        <p14:creationId xmlns:p14="http://schemas.microsoft.com/office/powerpoint/2010/main" val="2671068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7ACBE-0B14-4370-A004-109F893BAE7B}"/>
              </a:ext>
            </a:extLst>
          </p:cNvPr>
          <p:cNvSpPr>
            <a:spLocks noGrp="1"/>
          </p:cNvSpPr>
          <p:nvPr>
            <p:ph type="title"/>
          </p:nvPr>
        </p:nvSpPr>
        <p:spPr/>
        <p:txBody>
          <a:bodyPr/>
          <a:lstStyle/>
          <a:p>
            <a:r>
              <a:rPr lang="en-US"/>
              <a:t>Delivering the CTS Requires Commonwealth to Focus FY22 on the Implementation of the Four Strategic Foundational Areas</a:t>
            </a:r>
          </a:p>
        </p:txBody>
      </p:sp>
      <p:sp>
        <p:nvSpPr>
          <p:cNvPr id="4" name="Freeform: Shape 3">
            <a:extLst>
              <a:ext uri="{FF2B5EF4-FFF2-40B4-BE49-F238E27FC236}">
                <a16:creationId xmlns:a16="http://schemas.microsoft.com/office/drawing/2014/main" id="{62A84D71-9F89-485F-A7DC-447F632FB64C}"/>
              </a:ext>
            </a:extLst>
          </p:cNvPr>
          <p:cNvSpPr/>
          <p:nvPr/>
        </p:nvSpPr>
        <p:spPr>
          <a:xfrm>
            <a:off x="6064804" y="1543451"/>
            <a:ext cx="2796035" cy="659528"/>
          </a:xfrm>
          <a:custGeom>
            <a:avLst/>
            <a:gdLst>
              <a:gd name="connsiteX0" fmla="*/ 0 w 1285875"/>
              <a:gd name="connsiteY0" fmla="*/ 0 h 295275"/>
              <a:gd name="connsiteX1" fmla="*/ 1285875 w 1285875"/>
              <a:gd name="connsiteY1" fmla="*/ 0 h 295275"/>
              <a:gd name="connsiteX2" fmla="*/ 1285875 w 1285875"/>
              <a:gd name="connsiteY2" fmla="*/ 304038 h 295275"/>
              <a:gd name="connsiteX3" fmla="*/ 0 w 1285875"/>
              <a:gd name="connsiteY3" fmla="*/ 304038 h 295275"/>
            </a:gdLst>
            <a:ahLst/>
            <a:cxnLst>
              <a:cxn ang="0">
                <a:pos x="connsiteX0" y="connsiteY0"/>
              </a:cxn>
              <a:cxn ang="0">
                <a:pos x="connsiteX1" y="connsiteY1"/>
              </a:cxn>
              <a:cxn ang="0">
                <a:pos x="connsiteX2" y="connsiteY2"/>
              </a:cxn>
              <a:cxn ang="0">
                <a:pos x="connsiteX3" y="connsiteY3"/>
              </a:cxn>
            </a:cxnLst>
            <a:rect l="l" t="t" r="r" b="b"/>
            <a:pathLst>
              <a:path w="1285875" h="295275">
                <a:moveTo>
                  <a:pt x="0" y="0"/>
                </a:moveTo>
                <a:lnTo>
                  <a:pt x="1285875" y="0"/>
                </a:lnTo>
                <a:lnTo>
                  <a:pt x="1285875" y="304038"/>
                </a:lnTo>
                <a:lnTo>
                  <a:pt x="0" y="304038"/>
                </a:lnTo>
                <a:close/>
              </a:path>
            </a:pathLst>
          </a:custGeom>
          <a:solidFill>
            <a:srgbClr val="D0DEEA"/>
          </a:solidFill>
          <a:ln w="9525" cap="flat">
            <a:noFill/>
            <a:prstDash val="solid"/>
            <a:miter/>
          </a:ln>
        </p:spPr>
        <p:txBody>
          <a:bodyPr lIns="0" tIns="0" bIns="91440" rtlCol="0" anchor="ctr"/>
          <a:lstStyle/>
          <a:p>
            <a:pPr algn="ctr"/>
            <a:r>
              <a:rPr lang="en-US" sz="1600" b="1">
                <a:solidFill>
                  <a:srgbClr val="002856"/>
                </a:solidFill>
                <a:latin typeface="+mj-lt"/>
              </a:rPr>
              <a:t>Cross-Agency Data Sharing</a:t>
            </a:r>
          </a:p>
        </p:txBody>
      </p:sp>
      <p:sp>
        <p:nvSpPr>
          <p:cNvPr id="5" name="Arrow: Pentagon 4">
            <a:extLst>
              <a:ext uri="{FF2B5EF4-FFF2-40B4-BE49-F238E27FC236}">
                <a16:creationId xmlns:a16="http://schemas.microsoft.com/office/drawing/2014/main" id="{DBF79DFF-6C6C-4415-8B1C-DC7BD3FB260A}"/>
              </a:ext>
            </a:extLst>
          </p:cNvPr>
          <p:cNvSpPr/>
          <p:nvPr/>
        </p:nvSpPr>
        <p:spPr>
          <a:xfrm>
            <a:off x="8860839" y="1540314"/>
            <a:ext cx="2872373" cy="673273"/>
          </a:xfrm>
          <a:prstGeom prst="homePlate">
            <a:avLst/>
          </a:prstGeom>
          <a:solidFill>
            <a:srgbClr val="A1B3CA"/>
          </a:solidFill>
          <a:ln w="9525" cap="flat">
            <a:noFill/>
            <a:prstDash val="solid"/>
            <a:miter/>
          </a:ln>
        </p:spPr>
        <p:txBody>
          <a:bodyPr lIns="0" tIns="0" bIns="91440" rtlCol="0" anchor="ctr"/>
          <a:lstStyle/>
          <a:p>
            <a:pPr algn="ctr"/>
            <a:r>
              <a:rPr lang="en-US" sz="1600" b="1">
                <a:solidFill>
                  <a:srgbClr val="002856"/>
                </a:solidFill>
                <a:latin typeface="+mj-lt"/>
              </a:rPr>
              <a:t>Execution Oversight</a:t>
            </a:r>
          </a:p>
        </p:txBody>
      </p:sp>
      <p:sp>
        <p:nvSpPr>
          <p:cNvPr id="6" name="Freeform: Shape 5">
            <a:extLst>
              <a:ext uri="{FF2B5EF4-FFF2-40B4-BE49-F238E27FC236}">
                <a16:creationId xmlns:a16="http://schemas.microsoft.com/office/drawing/2014/main" id="{8B529EC2-1AC8-4409-828E-4136508F5C83}"/>
              </a:ext>
            </a:extLst>
          </p:cNvPr>
          <p:cNvSpPr/>
          <p:nvPr/>
        </p:nvSpPr>
        <p:spPr>
          <a:xfrm>
            <a:off x="457200" y="1543451"/>
            <a:ext cx="2796035" cy="659528"/>
          </a:xfrm>
          <a:custGeom>
            <a:avLst/>
            <a:gdLst>
              <a:gd name="connsiteX0" fmla="*/ 0 w 1285875"/>
              <a:gd name="connsiteY0" fmla="*/ 0 h 295275"/>
              <a:gd name="connsiteX1" fmla="*/ 1293019 w 1285875"/>
              <a:gd name="connsiteY1" fmla="*/ 0 h 295275"/>
              <a:gd name="connsiteX2" fmla="*/ 1293019 w 1285875"/>
              <a:gd name="connsiteY2" fmla="*/ 304038 h 295275"/>
              <a:gd name="connsiteX3" fmla="*/ 0 w 1285875"/>
              <a:gd name="connsiteY3" fmla="*/ 304038 h 295275"/>
            </a:gdLst>
            <a:ahLst/>
            <a:cxnLst>
              <a:cxn ang="0">
                <a:pos x="connsiteX0" y="connsiteY0"/>
              </a:cxn>
              <a:cxn ang="0">
                <a:pos x="connsiteX1" y="connsiteY1"/>
              </a:cxn>
              <a:cxn ang="0">
                <a:pos x="connsiteX2" y="connsiteY2"/>
              </a:cxn>
              <a:cxn ang="0">
                <a:pos x="connsiteX3" y="connsiteY3"/>
              </a:cxn>
            </a:cxnLst>
            <a:rect l="l" t="t" r="r" b="b"/>
            <a:pathLst>
              <a:path w="1285875" h="295275">
                <a:moveTo>
                  <a:pt x="0" y="0"/>
                </a:moveTo>
                <a:lnTo>
                  <a:pt x="1293019" y="0"/>
                </a:lnTo>
                <a:lnTo>
                  <a:pt x="1293019" y="304038"/>
                </a:lnTo>
                <a:lnTo>
                  <a:pt x="0" y="304038"/>
                </a:lnTo>
                <a:close/>
              </a:path>
            </a:pathLst>
          </a:custGeom>
          <a:solidFill>
            <a:srgbClr val="D0DEEA"/>
          </a:solidFill>
          <a:ln w="9525" cap="flat">
            <a:noFill/>
            <a:prstDash val="solid"/>
            <a:miter/>
          </a:ln>
        </p:spPr>
        <p:txBody>
          <a:bodyPr lIns="0" tIns="0" bIns="91440" rtlCol="0" anchor="ctr"/>
          <a:lstStyle/>
          <a:p>
            <a:pPr algn="ctr"/>
            <a:r>
              <a:rPr lang="en-US" sz="1600" b="1">
                <a:solidFill>
                  <a:srgbClr val="002856"/>
                </a:solidFill>
                <a:latin typeface="+mj-lt"/>
              </a:rPr>
              <a:t>Common Data Definitions</a:t>
            </a:r>
          </a:p>
        </p:txBody>
      </p:sp>
      <p:sp>
        <p:nvSpPr>
          <p:cNvPr id="7" name="Freeform: Shape 6">
            <a:extLst>
              <a:ext uri="{FF2B5EF4-FFF2-40B4-BE49-F238E27FC236}">
                <a16:creationId xmlns:a16="http://schemas.microsoft.com/office/drawing/2014/main" id="{52673C5E-FC26-4C4F-ADD9-1B0ACB6BFDF1}"/>
              </a:ext>
            </a:extLst>
          </p:cNvPr>
          <p:cNvSpPr/>
          <p:nvPr/>
        </p:nvSpPr>
        <p:spPr>
          <a:xfrm>
            <a:off x="3268769" y="1543451"/>
            <a:ext cx="2796035" cy="659528"/>
          </a:xfrm>
          <a:custGeom>
            <a:avLst/>
            <a:gdLst>
              <a:gd name="connsiteX0" fmla="*/ 0 w 1285875"/>
              <a:gd name="connsiteY0" fmla="*/ 0 h 295275"/>
              <a:gd name="connsiteX1" fmla="*/ 1285875 w 1285875"/>
              <a:gd name="connsiteY1" fmla="*/ 0 h 295275"/>
              <a:gd name="connsiteX2" fmla="*/ 1285875 w 1285875"/>
              <a:gd name="connsiteY2" fmla="*/ 304038 h 295275"/>
              <a:gd name="connsiteX3" fmla="*/ 0 w 1285875"/>
              <a:gd name="connsiteY3" fmla="*/ 304038 h 295275"/>
            </a:gdLst>
            <a:ahLst/>
            <a:cxnLst>
              <a:cxn ang="0">
                <a:pos x="connsiteX0" y="connsiteY0"/>
              </a:cxn>
              <a:cxn ang="0">
                <a:pos x="connsiteX1" y="connsiteY1"/>
              </a:cxn>
              <a:cxn ang="0">
                <a:pos x="connsiteX2" y="connsiteY2"/>
              </a:cxn>
              <a:cxn ang="0">
                <a:pos x="connsiteX3" y="connsiteY3"/>
              </a:cxn>
            </a:cxnLst>
            <a:rect l="l" t="t" r="r" b="b"/>
            <a:pathLst>
              <a:path w="1285875" h="295275">
                <a:moveTo>
                  <a:pt x="0" y="0"/>
                </a:moveTo>
                <a:lnTo>
                  <a:pt x="1285875" y="0"/>
                </a:lnTo>
                <a:lnTo>
                  <a:pt x="1285875" y="304038"/>
                </a:lnTo>
                <a:lnTo>
                  <a:pt x="0" y="304038"/>
                </a:lnTo>
                <a:close/>
              </a:path>
            </a:pathLst>
          </a:custGeom>
          <a:solidFill>
            <a:srgbClr val="A1B3CA"/>
          </a:solidFill>
          <a:ln w="9525" cap="flat">
            <a:noFill/>
            <a:prstDash val="solid"/>
            <a:miter/>
          </a:ln>
        </p:spPr>
        <p:txBody>
          <a:bodyPr lIns="0" tIns="0" bIns="91440" rtlCol="0" anchor="ctr"/>
          <a:lstStyle/>
          <a:p>
            <a:pPr algn="ctr"/>
            <a:r>
              <a:rPr lang="en-US" sz="1600" b="1">
                <a:solidFill>
                  <a:srgbClr val="002856"/>
                </a:solidFill>
                <a:latin typeface="+mj-lt"/>
              </a:rPr>
              <a:t>Governance </a:t>
            </a:r>
          </a:p>
          <a:p>
            <a:pPr algn="ctr"/>
            <a:r>
              <a:rPr lang="en-US" sz="1600" b="1">
                <a:solidFill>
                  <a:srgbClr val="002856"/>
                </a:solidFill>
                <a:latin typeface="+mj-lt"/>
              </a:rPr>
              <a:t>Framework</a:t>
            </a:r>
          </a:p>
        </p:txBody>
      </p:sp>
      <p:sp>
        <p:nvSpPr>
          <p:cNvPr id="8" name="Freeform: Shape 7">
            <a:extLst>
              <a:ext uri="{FF2B5EF4-FFF2-40B4-BE49-F238E27FC236}">
                <a16:creationId xmlns:a16="http://schemas.microsoft.com/office/drawing/2014/main" id="{9A495ABC-6C06-4CB7-A93F-0EEF29C4C8BD}"/>
              </a:ext>
            </a:extLst>
          </p:cNvPr>
          <p:cNvSpPr/>
          <p:nvPr/>
        </p:nvSpPr>
        <p:spPr>
          <a:xfrm>
            <a:off x="3268768" y="1769324"/>
            <a:ext cx="114949" cy="297851"/>
          </a:xfrm>
          <a:custGeom>
            <a:avLst/>
            <a:gdLst>
              <a:gd name="connsiteX0" fmla="*/ 0 w 66675"/>
              <a:gd name="connsiteY0" fmla="*/ 0 h 133350"/>
              <a:gd name="connsiteX1" fmla="*/ 0 w 66675"/>
              <a:gd name="connsiteY1" fmla="*/ 137827 h 133350"/>
              <a:gd name="connsiteX2" fmla="*/ 68866 w 66675"/>
              <a:gd name="connsiteY2" fmla="*/ 68866 h 133350"/>
            </a:gdLst>
            <a:ahLst/>
            <a:cxnLst>
              <a:cxn ang="0">
                <a:pos x="connsiteX0" y="connsiteY0"/>
              </a:cxn>
              <a:cxn ang="0">
                <a:pos x="connsiteX1" y="connsiteY1"/>
              </a:cxn>
              <a:cxn ang="0">
                <a:pos x="connsiteX2" y="connsiteY2"/>
              </a:cxn>
            </a:cxnLst>
            <a:rect l="l" t="t" r="r" b="b"/>
            <a:pathLst>
              <a:path w="66675" h="133350">
                <a:moveTo>
                  <a:pt x="0" y="0"/>
                </a:moveTo>
                <a:lnTo>
                  <a:pt x="0" y="137827"/>
                </a:lnTo>
                <a:lnTo>
                  <a:pt x="68866" y="68866"/>
                </a:lnTo>
                <a:close/>
              </a:path>
            </a:pathLst>
          </a:custGeom>
          <a:solidFill>
            <a:srgbClr val="D0DEEA"/>
          </a:solidFill>
          <a:ln w="9525" cap="flat">
            <a:noFill/>
            <a:prstDash val="solid"/>
            <a:miter/>
          </a:ln>
        </p:spPr>
        <p:txBody>
          <a:bodyPr tIns="0" bIns="91440" rtlCol="0" anchor="ctr"/>
          <a:lstStyle/>
          <a:p>
            <a:endParaRPr lang="en-US"/>
          </a:p>
        </p:txBody>
      </p:sp>
      <p:sp>
        <p:nvSpPr>
          <p:cNvPr id="9" name="Freeform: Shape 8">
            <a:extLst>
              <a:ext uri="{FF2B5EF4-FFF2-40B4-BE49-F238E27FC236}">
                <a16:creationId xmlns:a16="http://schemas.microsoft.com/office/drawing/2014/main" id="{4FE9F362-D194-4A32-BEC4-D9FC10C81D84}"/>
              </a:ext>
            </a:extLst>
          </p:cNvPr>
          <p:cNvSpPr/>
          <p:nvPr/>
        </p:nvSpPr>
        <p:spPr>
          <a:xfrm>
            <a:off x="6064803" y="1769324"/>
            <a:ext cx="114949" cy="297851"/>
          </a:xfrm>
          <a:custGeom>
            <a:avLst/>
            <a:gdLst>
              <a:gd name="connsiteX0" fmla="*/ 0 w 66675"/>
              <a:gd name="connsiteY0" fmla="*/ 0 h 133350"/>
              <a:gd name="connsiteX1" fmla="*/ 0 w 66675"/>
              <a:gd name="connsiteY1" fmla="*/ 137827 h 133350"/>
              <a:gd name="connsiteX2" fmla="*/ 68866 w 66675"/>
              <a:gd name="connsiteY2" fmla="*/ 68866 h 133350"/>
            </a:gdLst>
            <a:ahLst/>
            <a:cxnLst>
              <a:cxn ang="0">
                <a:pos x="connsiteX0" y="connsiteY0"/>
              </a:cxn>
              <a:cxn ang="0">
                <a:pos x="connsiteX1" y="connsiteY1"/>
              </a:cxn>
              <a:cxn ang="0">
                <a:pos x="connsiteX2" y="connsiteY2"/>
              </a:cxn>
            </a:cxnLst>
            <a:rect l="l" t="t" r="r" b="b"/>
            <a:pathLst>
              <a:path w="66675" h="133350">
                <a:moveTo>
                  <a:pt x="0" y="0"/>
                </a:moveTo>
                <a:lnTo>
                  <a:pt x="0" y="137827"/>
                </a:lnTo>
                <a:lnTo>
                  <a:pt x="68866" y="68866"/>
                </a:lnTo>
                <a:close/>
              </a:path>
            </a:pathLst>
          </a:custGeom>
          <a:solidFill>
            <a:srgbClr val="A1B3CA"/>
          </a:solidFill>
          <a:ln w="9525" cap="flat">
            <a:noFill/>
            <a:prstDash val="solid"/>
            <a:miter/>
          </a:ln>
        </p:spPr>
        <p:txBody>
          <a:bodyPr tIns="0" bIns="91440" rtlCol="0" anchor="ctr"/>
          <a:lstStyle/>
          <a:p>
            <a:endParaRPr lang="en-US"/>
          </a:p>
        </p:txBody>
      </p:sp>
      <p:sp>
        <p:nvSpPr>
          <p:cNvPr id="10" name="Freeform: Shape 9">
            <a:extLst>
              <a:ext uri="{FF2B5EF4-FFF2-40B4-BE49-F238E27FC236}">
                <a16:creationId xmlns:a16="http://schemas.microsoft.com/office/drawing/2014/main" id="{65A39557-AADD-451A-951E-1A79F9B57D61}"/>
              </a:ext>
            </a:extLst>
          </p:cNvPr>
          <p:cNvSpPr/>
          <p:nvPr/>
        </p:nvSpPr>
        <p:spPr>
          <a:xfrm>
            <a:off x="8860838" y="1769324"/>
            <a:ext cx="114949" cy="297851"/>
          </a:xfrm>
          <a:custGeom>
            <a:avLst/>
            <a:gdLst>
              <a:gd name="connsiteX0" fmla="*/ 0 w 66675"/>
              <a:gd name="connsiteY0" fmla="*/ 0 h 133350"/>
              <a:gd name="connsiteX1" fmla="*/ 0 w 66675"/>
              <a:gd name="connsiteY1" fmla="*/ 137827 h 133350"/>
              <a:gd name="connsiteX2" fmla="*/ 68866 w 66675"/>
              <a:gd name="connsiteY2" fmla="*/ 68866 h 133350"/>
            </a:gdLst>
            <a:ahLst/>
            <a:cxnLst>
              <a:cxn ang="0">
                <a:pos x="connsiteX0" y="connsiteY0"/>
              </a:cxn>
              <a:cxn ang="0">
                <a:pos x="connsiteX1" y="connsiteY1"/>
              </a:cxn>
              <a:cxn ang="0">
                <a:pos x="connsiteX2" y="connsiteY2"/>
              </a:cxn>
            </a:cxnLst>
            <a:rect l="l" t="t" r="r" b="b"/>
            <a:pathLst>
              <a:path w="66675" h="133350">
                <a:moveTo>
                  <a:pt x="0" y="0"/>
                </a:moveTo>
                <a:lnTo>
                  <a:pt x="0" y="137827"/>
                </a:lnTo>
                <a:lnTo>
                  <a:pt x="68866" y="68866"/>
                </a:lnTo>
                <a:close/>
              </a:path>
            </a:pathLst>
          </a:custGeom>
          <a:solidFill>
            <a:srgbClr val="D0DEEA"/>
          </a:solidFill>
          <a:ln w="9525" cap="flat">
            <a:noFill/>
            <a:prstDash val="solid"/>
            <a:miter/>
          </a:ln>
        </p:spPr>
        <p:txBody>
          <a:bodyPr tIns="0" bIns="91440" rtlCol="0" anchor="ctr"/>
          <a:lstStyle/>
          <a:p>
            <a:endParaRPr lang="en-US"/>
          </a:p>
        </p:txBody>
      </p:sp>
      <p:sp>
        <p:nvSpPr>
          <p:cNvPr id="11" name="Freeform: Shape 10">
            <a:extLst>
              <a:ext uri="{FF2B5EF4-FFF2-40B4-BE49-F238E27FC236}">
                <a16:creationId xmlns:a16="http://schemas.microsoft.com/office/drawing/2014/main" id="{8D176D5E-98B6-458D-B828-95393610CA32}"/>
              </a:ext>
            </a:extLst>
          </p:cNvPr>
          <p:cNvSpPr/>
          <p:nvPr/>
        </p:nvSpPr>
        <p:spPr bwMode="gray">
          <a:xfrm>
            <a:off x="1860800" y="2274069"/>
            <a:ext cx="16421" cy="2036239"/>
          </a:xfrm>
          <a:custGeom>
            <a:avLst/>
            <a:gdLst>
              <a:gd name="connsiteX0" fmla="*/ 0 w 0"/>
              <a:gd name="connsiteY0" fmla="*/ 0 h 1181100"/>
              <a:gd name="connsiteX1" fmla="*/ 0 w 0"/>
              <a:gd name="connsiteY1" fmla="*/ 1187768 h 1181100"/>
            </a:gdLst>
            <a:ahLst/>
            <a:cxnLst>
              <a:cxn ang="0">
                <a:pos x="connsiteX0" y="connsiteY0"/>
              </a:cxn>
              <a:cxn ang="0">
                <a:pos x="connsiteX1" y="connsiteY1"/>
              </a:cxn>
            </a:cxnLst>
            <a:rect l="l" t="t" r="r" b="b"/>
            <a:pathLst>
              <a:path h="1181100">
                <a:moveTo>
                  <a:pt x="0" y="0"/>
                </a:moveTo>
                <a:lnTo>
                  <a:pt x="0" y="1187768"/>
                </a:lnTo>
              </a:path>
            </a:pathLst>
          </a:custGeom>
          <a:ln w="19050" cap="flat">
            <a:solidFill>
              <a:srgbClr val="BCBEC0"/>
            </a:solid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47681B1-B2F9-42F7-A088-30E3C28AF32B}"/>
              </a:ext>
            </a:extLst>
          </p:cNvPr>
          <p:cNvSpPr/>
          <p:nvPr/>
        </p:nvSpPr>
        <p:spPr bwMode="gray">
          <a:xfrm>
            <a:off x="1608898" y="2094023"/>
            <a:ext cx="492639" cy="492639"/>
          </a:xfrm>
          <a:custGeom>
            <a:avLst/>
            <a:gdLst>
              <a:gd name="connsiteX0" fmla="*/ 292227 w 285750"/>
              <a:gd name="connsiteY0" fmla="*/ 146114 h 285750"/>
              <a:gd name="connsiteX1" fmla="*/ 146113 w 285750"/>
              <a:gd name="connsiteY1" fmla="*/ 292227 h 285750"/>
              <a:gd name="connsiteX2" fmla="*/ 0 w 285750"/>
              <a:gd name="connsiteY2" fmla="*/ 146114 h 285750"/>
              <a:gd name="connsiteX3" fmla="*/ 146113 w 285750"/>
              <a:gd name="connsiteY3" fmla="*/ 0 h 285750"/>
              <a:gd name="connsiteX4" fmla="*/ 292227 w 285750"/>
              <a:gd name="connsiteY4" fmla="*/ 146114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92227" y="146114"/>
                </a:moveTo>
                <a:cubicBezTo>
                  <a:pt x="292227" y="226810"/>
                  <a:pt x="226810" y="292227"/>
                  <a:pt x="146113" y="292227"/>
                </a:cubicBezTo>
                <a:cubicBezTo>
                  <a:pt x="65417" y="292227"/>
                  <a:pt x="0" y="226810"/>
                  <a:pt x="0" y="146114"/>
                </a:cubicBezTo>
                <a:cubicBezTo>
                  <a:pt x="0" y="65417"/>
                  <a:pt x="65417" y="0"/>
                  <a:pt x="146113" y="0"/>
                </a:cubicBezTo>
                <a:cubicBezTo>
                  <a:pt x="226810" y="0"/>
                  <a:pt x="292227" y="65417"/>
                  <a:pt x="292227" y="146114"/>
                </a:cubicBezTo>
                <a:close/>
              </a:path>
            </a:pathLst>
          </a:custGeom>
          <a:solidFill>
            <a:schemeClr val="bg1"/>
          </a:solidFill>
          <a:ln w="19050" cap="flat">
            <a:solidFill>
              <a:srgbClr val="BCBEC0"/>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271A0A4-2ECA-456F-A23E-3717B212525A}"/>
              </a:ext>
            </a:extLst>
          </p:cNvPr>
          <p:cNvSpPr/>
          <p:nvPr/>
        </p:nvSpPr>
        <p:spPr bwMode="gray">
          <a:xfrm>
            <a:off x="4674667" y="2449612"/>
            <a:ext cx="16421" cy="1872026"/>
          </a:xfrm>
          <a:custGeom>
            <a:avLst/>
            <a:gdLst>
              <a:gd name="connsiteX0" fmla="*/ 0 w 0"/>
              <a:gd name="connsiteY0" fmla="*/ 0 h 1085850"/>
              <a:gd name="connsiteX1" fmla="*/ 0 w 0"/>
              <a:gd name="connsiteY1" fmla="*/ 1085945 h 1085850"/>
            </a:gdLst>
            <a:ahLst/>
            <a:cxnLst>
              <a:cxn ang="0">
                <a:pos x="connsiteX0" y="connsiteY0"/>
              </a:cxn>
              <a:cxn ang="0">
                <a:pos x="connsiteX1" y="connsiteY1"/>
              </a:cxn>
            </a:cxnLst>
            <a:rect l="l" t="t" r="r" b="b"/>
            <a:pathLst>
              <a:path h="1085850">
                <a:moveTo>
                  <a:pt x="0" y="0"/>
                </a:moveTo>
                <a:lnTo>
                  <a:pt x="0" y="1085945"/>
                </a:lnTo>
              </a:path>
            </a:pathLst>
          </a:custGeom>
          <a:ln w="19050" cap="flat">
            <a:solidFill>
              <a:srgbClr val="BCBEC0"/>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CAFFC18B-2EE9-4504-9A95-309618E7CD56}"/>
              </a:ext>
            </a:extLst>
          </p:cNvPr>
          <p:cNvSpPr/>
          <p:nvPr/>
        </p:nvSpPr>
        <p:spPr bwMode="gray">
          <a:xfrm>
            <a:off x="4420467" y="2094023"/>
            <a:ext cx="492639" cy="492639"/>
          </a:xfrm>
          <a:custGeom>
            <a:avLst/>
            <a:gdLst>
              <a:gd name="connsiteX0" fmla="*/ 292227 w 285750"/>
              <a:gd name="connsiteY0" fmla="*/ 146114 h 285750"/>
              <a:gd name="connsiteX1" fmla="*/ 146114 w 285750"/>
              <a:gd name="connsiteY1" fmla="*/ 292227 h 285750"/>
              <a:gd name="connsiteX2" fmla="*/ 0 w 285750"/>
              <a:gd name="connsiteY2" fmla="*/ 146114 h 285750"/>
              <a:gd name="connsiteX3" fmla="*/ 146114 w 285750"/>
              <a:gd name="connsiteY3" fmla="*/ 0 h 285750"/>
              <a:gd name="connsiteX4" fmla="*/ 292227 w 285750"/>
              <a:gd name="connsiteY4" fmla="*/ 146114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92227" y="146114"/>
                </a:moveTo>
                <a:cubicBezTo>
                  <a:pt x="292227" y="226810"/>
                  <a:pt x="226810" y="292227"/>
                  <a:pt x="146114" y="292227"/>
                </a:cubicBezTo>
                <a:cubicBezTo>
                  <a:pt x="65417" y="292227"/>
                  <a:pt x="0" y="226810"/>
                  <a:pt x="0" y="146114"/>
                </a:cubicBezTo>
                <a:cubicBezTo>
                  <a:pt x="0" y="65417"/>
                  <a:pt x="65417" y="0"/>
                  <a:pt x="146114" y="0"/>
                </a:cubicBezTo>
                <a:cubicBezTo>
                  <a:pt x="226810" y="0"/>
                  <a:pt x="292227" y="65417"/>
                  <a:pt x="292227" y="146114"/>
                </a:cubicBezTo>
                <a:close/>
              </a:path>
            </a:pathLst>
          </a:custGeom>
          <a:solidFill>
            <a:schemeClr val="bg1"/>
          </a:solidFill>
          <a:ln w="19050" cap="flat">
            <a:solidFill>
              <a:srgbClr val="BCBEC0"/>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031BA3-0F05-4969-96A2-AC6CE0E7AE73}"/>
              </a:ext>
            </a:extLst>
          </p:cNvPr>
          <p:cNvSpPr/>
          <p:nvPr/>
        </p:nvSpPr>
        <p:spPr bwMode="gray">
          <a:xfrm>
            <a:off x="7454611" y="2433191"/>
            <a:ext cx="16421" cy="1872026"/>
          </a:xfrm>
          <a:custGeom>
            <a:avLst/>
            <a:gdLst>
              <a:gd name="connsiteX0" fmla="*/ 0 w 0"/>
              <a:gd name="connsiteY0" fmla="*/ 0 h 1085850"/>
              <a:gd name="connsiteX1" fmla="*/ 0 w 0"/>
              <a:gd name="connsiteY1" fmla="*/ 1085945 h 1085850"/>
            </a:gdLst>
            <a:ahLst/>
            <a:cxnLst>
              <a:cxn ang="0">
                <a:pos x="connsiteX0" y="connsiteY0"/>
              </a:cxn>
              <a:cxn ang="0">
                <a:pos x="connsiteX1" y="connsiteY1"/>
              </a:cxn>
            </a:cxnLst>
            <a:rect l="l" t="t" r="r" b="b"/>
            <a:pathLst>
              <a:path h="1085850">
                <a:moveTo>
                  <a:pt x="0" y="0"/>
                </a:moveTo>
                <a:lnTo>
                  <a:pt x="0" y="1085945"/>
                </a:lnTo>
              </a:path>
            </a:pathLst>
          </a:custGeom>
          <a:ln w="19050" cap="flat">
            <a:solidFill>
              <a:srgbClr val="BCBEC0"/>
            </a:solid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EABAE35F-ADE2-44AA-9342-6A3C83BC2A4E}"/>
              </a:ext>
            </a:extLst>
          </p:cNvPr>
          <p:cNvSpPr/>
          <p:nvPr/>
        </p:nvSpPr>
        <p:spPr bwMode="gray">
          <a:xfrm>
            <a:off x="7126185" y="2009556"/>
            <a:ext cx="673273" cy="673273"/>
          </a:xfrm>
          <a:custGeom>
            <a:avLst/>
            <a:gdLst>
              <a:gd name="connsiteX0" fmla="*/ 273641 w 390525"/>
              <a:gd name="connsiteY0" fmla="*/ 73758 h 390525"/>
              <a:gd name="connsiteX1" fmla="*/ 326008 w 390525"/>
              <a:gd name="connsiteY1" fmla="*/ 273641 h 390525"/>
              <a:gd name="connsiteX2" fmla="*/ 126125 w 390525"/>
              <a:gd name="connsiteY2" fmla="*/ 326008 h 390525"/>
              <a:gd name="connsiteX3" fmla="*/ 73758 w 390525"/>
              <a:gd name="connsiteY3" fmla="*/ 126125 h 390525"/>
              <a:gd name="connsiteX4" fmla="*/ 273641 w 390525"/>
              <a:gd name="connsiteY4" fmla="*/ 73758 h 39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5" h="390525">
                <a:moveTo>
                  <a:pt x="273641" y="73758"/>
                </a:moveTo>
                <a:cubicBezTo>
                  <a:pt x="343298" y="114494"/>
                  <a:pt x="366744" y="203984"/>
                  <a:pt x="326008" y="273641"/>
                </a:cubicBezTo>
                <a:cubicBezTo>
                  <a:pt x="285273" y="343298"/>
                  <a:pt x="195782" y="366744"/>
                  <a:pt x="126125" y="326008"/>
                </a:cubicBezTo>
                <a:cubicBezTo>
                  <a:pt x="56468" y="285273"/>
                  <a:pt x="33023" y="195782"/>
                  <a:pt x="73758" y="126125"/>
                </a:cubicBezTo>
                <a:cubicBezTo>
                  <a:pt x="114494" y="56468"/>
                  <a:pt x="203984" y="33023"/>
                  <a:pt x="273641" y="73758"/>
                </a:cubicBezTo>
                <a:close/>
              </a:path>
            </a:pathLst>
          </a:custGeom>
          <a:solidFill>
            <a:schemeClr val="bg1"/>
          </a:solidFill>
          <a:ln w="19050" cap="flat">
            <a:solidFill>
              <a:srgbClr val="BCBEC0"/>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C789C09-572F-4FE1-B37D-1B6C147B4A81}"/>
              </a:ext>
            </a:extLst>
          </p:cNvPr>
          <p:cNvSpPr/>
          <p:nvPr/>
        </p:nvSpPr>
        <p:spPr bwMode="gray">
          <a:xfrm>
            <a:off x="10229151" y="2441400"/>
            <a:ext cx="16421" cy="1872026"/>
          </a:xfrm>
          <a:custGeom>
            <a:avLst/>
            <a:gdLst>
              <a:gd name="connsiteX0" fmla="*/ 0 w 0"/>
              <a:gd name="connsiteY0" fmla="*/ 0 h 1085850"/>
              <a:gd name="connsiteX1" fmla="*/ 0 w 0"/>
              <a:gd name="connsiteY1" fmla="*/ 1085945 h 1085850"/>
            </a:gdLst>
            <a:ahLst/>
            <a:cxnLst>
              <a:cxn ang="0">
                <a:pos x="connsiteX0" y="connsiteY0"/>
              </a:cxn>
              <a:cxn ang="0">
                <a:pos x="connsiteX1" y="connsiteY1"/>
              </a:cxn>
            </a:cxnLst>
            <a:rect l="l" t="t" r="r" b="b"/>
            <a:pathLst>
              <a:path h="1085850">
                <a:moveTo>
                  <a:pt x="0" y="0"/>
                </a:moveTo>
                <a:lnTo>
                  <a:pt x="0" y="1085945"/>
                </a:lnTo>
              </a:path>
            </a:pathLst>
          </a:custGeom>
          <a:ln w="19050" cap="flat">
            <a:solidFill>
              <a:srgbClr val="BCBEC0"/>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1AB09DB-FA55-48DC-ADD3-F6083745CD82}"/>
              </a:ext>
            </a:extLst>
          </p:cNvPr>
          <p:cNvSpPr/>
          <p:nvPr/>
        </p:nvSpPr>
        <p:spPr bwMode="gray">
          <a:xfrm>
            <a:off x="9886932" y="2001181"/>
            <a:ext cx="673273" cy="673273"/>
          </a:xfrm>
          <a:custGeom>
            <a:avLst/>
            <a:gdLst>
              <a:gd name="connsiteX0" fmla="*/ 273641 w 390525"/>
              <a:gd name="connsiteY0" fmla="*/ 73758 h 390525"/>
              <a:gd name="connsiteX1" fmla="*/ 326008 w 390525"/>
              <a:gd name="connsiteY1" fmla="*/ 273641 h 390525"/>
              <a:gd name="connsiteX2" fmla="*/ 126125 w 390525"/>
              <a:gd name="connsiteY2" fmla="*/ 326008 h 390525"/>
              <a:gd name="connsiteX3" fmla="*/ 73758 w 390525"/>
              <a:gd name="connsiteY3" fmla="*/ 126125 h 390525"/>
              <a:gd name="connsiteX4" fmla="*/ 273641 w 390525"/>
              <a:gd name="connsiteY4" fmla="*/ 73758 h 39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25" h="390525">
                <a:moveTo>
                  <a:pt x="273641" y="73758"/>
                </a:moveTo>
                <a:cubicBezTo>
                  <a:pt x="343298" y="114494"/>
                  <a:pt x="366744" y="203984"/>
                  <a:pt x="326008" y="273641"/>
                </a:cubicBezTo>
                <a:cubicBezTo>
                  <a:pt x="285273" y="343298"/>
                  <a:pt x="195782" y="366744"/>
                  <a:pt x="126125" y="326008"/>
                </a:cubicBezTo>
                <a:cubicBezTo>
                  <a:pt x="56468" y="285273"/>
                  <a:pt x="33023" y="195782"/>
                  <a:pt x="73758" y="126125"/>
                </a:cubicBezTo>
                <a:cubicBezTo>
                  <a:pt x="114494" y="56468"/>
                  <a:pt x="203984" y="33023"/>
                  <a:pt x="273641" y="73758"/>
                </a:cubicBezTo>
                <a:close/>
              </a:path>
            </a:pathLst>
          </a:custGeom>
          <a:solidFill>
            <a:schemeClr val="bg1"/>
          </a:solidFill>
          <a:ln w="19050" cap="flat">
            <a:solidFill>
              <a:srgbClr val="BCBEC0"/>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31DB044-3C88-4F2C-9305-590EAAAEE488}"/>
              </a:ext>
            </a:extLst>
          </p:cNvPr>
          <p:cNvSpPr>
            <a:spLocks noChangeAspect="1"/>
          </p:cNvSpPr>
          <p:nvPr/>
        </p:nvSpPr>
        <p:spPr bwMode="gray">
          <a:xfrm>
            <a:off x="7273840" y="2197322"/>
            <a:ext cx="365760" cy="300446"/>
          </a:xfrm>
          <a:custGeom>
            <a:avLst/>
            <a:gdLst>
              <a:gd name="connsiteX0" fmla="*/ 403193 w 533400"/>
              <a:gd name="connsiteY0" fmla="*/ 262604 h 438150"/>
              <a:gd name="connsiteX1" fmla="*/ 456438 w 533400"/>
              <a:gd name="connsiteY1" fmla="*/ 315849 h 438150"/>
              <a:gd name="connsiteX2" fmla="*/ 340233 w 533400"/>
              <a:gd name="connsiteY2" fmla="*/ 315849 h 438150"/>
              <a:gd name="connsiteX3" fmla="*/ 264795 w 533400"/>
              <a:gd name="connsiteY3" fmla="*/ 220599 h 438150"/>
              <a:gd name="connsiteX4" fmla="*/ 340233 w 533400"/>
              <a:gd name="connsiteY4" fmla="*/ 125349 h 438150"/>
              <a:gd name="connsiteX5" fmla="*/ 456438 w 533400"/>
              <a:gd name="connsiteY5" fmla="*/ 125349 h 438150"/>
              <a:gd name="connsiteX6" fmla="*/ 403193 w 533400"/>
              <a:gd name="connsiteY6" fmla="*/ 178594 h 438150"/>
              <a:gd name="connsiteX7" fmla="*/ 430149 w 533400"/>
              <a:gd name="connsiteY7" fmla="*/ 205454 h 438150"/>
              <a:gd name="connsiteX8" fmla="*/ 529400 w 533400"/>
              <a:gd name="connsiteY8" fmla="*/ 106299 h 438150"/>
              <a:gd name="connsiteX9" fmla="*/ 430149 w 533400"/>
              <a:gd name="connsiteY9" fmla="*/ 7144 h 438150"/>
              <a:gd name="connsiteX10" fmla="*/ 403193 w 533400"/>
              <a:gd name="connsiteY10" fmla="*/ 34004 h 438150"/>
              <a:gd name="connsiteX11" fmla="*/ 456438 w 533400"/>
              <a:gd name="connsiteY11" fmla="*/ 87249 h 438150"/>
              <a:gd name="connsiteX12" fmla="*/ 321755 w 533400"/>
              <a:gd name="connsiteY12" fmla="*/ 87249 h 438150"/>
              <a:gd name="connsiteX13" fmla="*/ 240506 w 533400"/>
              <a:gd name="connsiteY13" fmla="*/ 189929 h 438150"/>
              <a:gd name="connsiteX14" fmla="*/ 159258 w 533400"/>
              <a:gd name="connsiteY14" fmla="*/ 87249 h 438150"/>
              <a:gd name="connsiteX15" fmla="*/ 7144 w 533400"/>
              <a:gd name="connsiteY15" fmla="*/ 87249 h 438150"/>
              <a:gd name="connsiteX16" fmla="*/ 7144 w 533400"/>
              <a:gd name="connsiteY16" fmla="*/ 125349 h 438150"/>
              <a:gd name="connsiteX17" fmla="*/ 140779 w 533400"/>
              <a:gd name="connsiteY17" fmla="*/ 125349 h 438150"/>
              <a:gd name="connsiteX18" fmla="*/ 216218 w 533400"/>
              <a:gd name="connsiteY18" fmla="*/ 220599 h 438150"/>
              <a:gd name="connsiteX19" fmla="*/ 140779 w 533400"/>
              <a:gd name="connsiteY19" fmla="*/ 315849 h 438150"/>
              <a:gd name="connsiteX20" fmla="*/ 7144 w 533400"/>
              <a:gd name="connsiteY20" fmla="*/ 315849 h 438150"/>
              <a:gd name="connsiteX21" fmla="*/ 7144 w 533400"/>
              <a:gd name="connsiteY21" fmla="*/ 353949 h 438150"/>
              <a:gd name="connsiteX22" fmla="*/ 159258 w 533400"/>
              <a:gd name="connsiteY22" fmla="*/ 353949 h 438150"/>
              <a:gd name="connsiteX23" fmla="*/ 240506 w 533400"/>
              <a:gd name="connsiteY23" fmla="*/ 251269 h 438150"/>
              <a:gd name="connsiteX24" fmla="*/ 321755 w 533400"/>
              <a:gd name="connsiteY24" fmla="*/ 353949 h 438150"/>
              <a:gd name="connsiteX25" fmla="*/ 456438 w 533400"/>
              <a:gd name="connsiteY25" fmla="*/ 353949 h 438150"/>
              <a:gd name="connsiteX26" fmla="*/ 403193 w 533400"/>
              <a:gd name="connsiteY26" fmla="*/ 407194 h 438150"/>
              <a:gd name="connsiteX27" fmla="*/ 430149 w 533400"/>
              <a:gd name="connsiteY27" fmla="*/ 434054 h 438150"/>
              <a:gd name="connsiteX28" fmla="*/ 529400 w 533400"/>
              <a:gd name="connsiteY28" fmla="*/ 334899 h 438150"/>
              <a:gd name="connsiteX29" fmla="*/ 430149 w 533400"/>
              <a:gd name="connsiteY29" fmla="*/ 23574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3400" h="438150">
                <a:moveTo>
                  <a:pt x="403193" y="262604"/>
                </a:moveTo>
                <a:lnTo>
                  <a:pt x="456438" y="315849"/>
                </a:lnTo>
                <a:lnTo>
                  <a:pt x="340233" y="315849"/>
                </a:lnTo>
                <a:lnTo>
                  <a:pt x="264795" y="220599"/>
                </a:lnTo>
                <a:lnTo>
                  <a:pt x="340233" y="125349"/>
                </a:lnTo>
                <a:lnTo>
                  <a:pt x="456438" y="125349"/>
                </a:lnTo>
                <a:lnTo>
                  <a:pt x="403193" y="178594"/>
                </a:lnTo>
                <a:lnTo>
                  <a:pt x="430149" y="205454"/>
                </a:lnTo>
                <a:lnTo>
                  <a:pt x="529400" y="106299"/>
                </a:lnTo>
                <a:lnTo>
                  <a:pt x="430149" y="7144"/>
                </a:lnTo>
                <a:lnTo>
                  <a:pt x="403193" y="34004"/>
                </a:lnTo>
                <a:lnTo>
                  <a:pt x="456438" y="87249"/>
                </a:lnTo>
                <a:lnTo>
                  <a:pt x="321755" y="87249"/>
                </a:lnTo>
                <a:lnTo>
                  <a:pt x="240506" y="189929"/>
                </a:lnTo>
                <a:lnTo>
                  <a:pt x="159258" y="87249"/>
                </a:lnTo>
                <a:lnTo>
                  <a:pt x="7144" y="87249"/>
                </a:lnTo>
                <a:lnTo>
                  <a:pt x="7144" y="125349"/>
                </a:lnTo>
                <a:lnTo>
                  <a:pt x="140779" y="125349"/>
                </a:lnTo>
                <a:lnTo>
                  <a:pt x="216218" y="220599"/>
                </a:lnTo>
                <a:lnTo>
                  <a:pt x="140779" y="315849"/>
                </a:lnTo>
                <a:lnTo>
                  <a:pt x="7144" y="315849"/>
                </a:lnTo>
                <a:lnTo>
                  <a:pt x="7144" y="353949"/>
                </a:lnTo>
                <a:lnTo>
                  <a:pt x="159258" y="353949"/>
                </a:lnTo>
                <a:lnTo>
                  <a:pt x="240506" y="251269"/>
                </a:lnTo>
                <a:lnTo>
                  <a:pt x="321755" y="353949"/>
                </a:lnTo>
                <a:lnTo>
                  <a:pt x="456438" y="353949"/>
                </a:lnTo>
                <a:lnTo>
                  <a:pt x="403193" y="407194"/>
                </a:lnTo>
                <a:lnTo>
                  <a:pt x="430149" y="434054"/>
                </a:lnTo>
                <a:lnTo>
                  <a:pt x="529400" y="334899"/>
                </a:lnTo>
                <a:lnTo>
                  <a:pt x="430149" y="235744"/>
                </a:lnTo>
                <a:close/>
              </a:path>
            </a:pathLst>
          </a:custGeom>
          <a:solidFill>
            <a:srgbClr val="6A80A3"/>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0CE3624-C41E-4230-A2A8-1EE5F6CDE1F5}"/>
              </a:ext>
            </a:extLst>
          </p:cNvPr>
          <p:cNvSpPr>
            <a:spLocks noChangeAspect="1"/>
          </p:cNvSpPr>
          <p:nvPr/>
        </p:nvSpPr>
        <p:spPr bwMode="gray">
          <a:xfrm>
            <a:off x="4483475" y="2164665"/>
            <a:ext cx="379562" cy="365760"/>
          </a:xfrm>
          <a:custGeom>
            <a:avLst/>
            <a:gdLst>
              <a:gd name="connsiteX0" fmla="*/ 517450 w 523875"/>
              <a:gd name="connsiteY0" fmla="*/ 191167 h 504825"/>
              <a:gd name="connsiteX1" fmla="*/ 479541 w 523875"/>
              <a:gd name="connsiteY1" fmla="*/ 146780 h 504825"/>
              <a:gd name="connsiteX2" fmla="*/ 421439 w 523875"/>
              <a:gd name="connsiteY2" fmla="*/ 142208 h 504825"/>
              <a:gd name="connsiteX3" fmla="*/ 377052 w 523875"/>
              <a:gd name="connsiteY3" fmla="*/ 180118 h 504825"/>
              <a:gd name="connsiteX4" fmla="*/ 368956 w 523875"/>
              <a:gd name="connsiteY4" fmla="*/ 219361 h 504825"/>
              <a:gd name="connsiteX5" fmla="*/ 329141 w 523875"/>
              <a:gd name="connsiteY5" fmla="*/ 232315 h 504825"/>
              <a:gd name="connsiteX6" fmla="*/ 283231 w 523875"/>
              <a:gd name="connsiteY6" fmla="*/ 198311 h 504825"/>
              <a:gd name="connsiteX7" fmla="*/ 283231 w 523875"/>
              <a:gd name="connsiteY7" fmla="*/ 157067 h 504825"/>
              <a:gd name="connsiteX8" fmla="*/ 340381 w 523875"/>
              <a:gd name="connsiteY8" fmla="*/ 83344 h 504825"/>
              <a:gd name="connsiteX9" fmla="*/ 264181 w 523875"/>
              <a:gd name="connsiteY9" fmla="*/ 7144 h 504825"/>
              <a:gd name="connsiteX10" fmla="*/ 187981 w 523875"/>
              <a:gd name="connsiteY10" fmla="*/ 83344 h 504825"/>
              <a:gd name="connsiteX11" fmla="*/ 245131 w 523875"/>
              <a:gd name="connsiteY11" fmla="*/ 157067 h 504825"/>
              <a:gd name="connsiteX12" fmla="*/ 245131 w 523875"/>
              <a:gd name="connsiteY12" fmla="*/ 198215 h 504825"/>
              <a:gd name="connsiteX13" fmla="*/ 199220 w 523875"/>
              <a:gd name="connsiteY13" fmla="*/ 232220 h 504825"/>
              <a:gd name="connsiteX14" fmla="*/ 159406 w 523875"/>
              <a:gd name="connsiteY14" fmla="*/ 219266 h 504825"/>
              <a:gd name="connsiteX15" fmla="*/ 151310 w 523875"/>
              <a:gd name="connsiteY15" fmla="*/ 180023 h 504825"/>
              <a:gd name="connsiteX16" fmla="*/ 106923 w 523875"/>
              <a:gd name="connsiteY16" fmla="*/ 142113 h 504825"/>
              <a:gd name="connsiteX17" fmla="*/ 48821 w 523875"/>
              <a:gd name="connsiteY17" fmla="*/ 146685 h 504825"/>
              <a:gd name="connsiteX18" fmla="*/ 10911 w 523875"/>
              <a:gd name="connsiteY18" fmla="*/ 191072 h 504825"/>
              <a:gd name="connsiteX19" fmla="*/ 15483 w 523875"/>
              <a:gd name="connsiteY19" fmla="*/ 249174 h 504825"/>
              <a:gd name="connsiteX20" fmla="*/ 59870 w 523875"/>
              <a:gd name="connsiteY20" fmla="*/ 287084 h 504825"/>
              <a:gd name="connsiteX21" fmla="*/ 83492 w 523875"/>
              <a:gd name="connsiteY21" fmla="*/ 290894 h 504825"/>
              <a:gd name="connsiteX22" fmla="*/ 117972 w 523875"/>
              <a:gd name="connsiteY22" fmla="*/ 282512 h 504825"/>
              <a:gd name="connsiteX23" fmla="*/ 147595 w 523875"/>
              <a:gd name="connsiteY23" fmla="*/ 255556 h 504825"/>
              <a:gd name="connsiteX24" fmla="*/ 188076 w 523875"/>
              <a:gd name="connsiteY24" fmla="*/ 268700 h 504825"/>
              <a:gd name="connsiteX25" fmla="*/ 187886 w 523875"/>
              <a:gd name="connsiteY25" fmla="*/ 271939 h 504825"/>
              <a:gd name="connsiteX26" fmla="*/ 205888 w 523875"/>
              <a:gd name="connsiteY26" fmla="*/ 321088 h 504825"/>
              <a:gd name="connsiteX27" fmla="*/ 180266 w 523875"/>
              <a:gd name="connsiteY27" fmla="*/ 356330 h 504825"/>
              <a:gd name="connsiteX28" fmla="*/ 140451 w 523875"/>
              <a:gd name="connsiteY28" fmla="*/ 351949 h 504825"/>
              <a:gd name="connsiteX29" fmla="*/ 90731 w 523875"/>
              <a:gd name="connsiteY29" fmla="*/ 382429 h 504825"/>
              <a:gd name="connsiteX30" fmla="*/ 77110 w 523875"/>
              <a:gd name="connsiteY30" fmla="*/ 439103 h 504825"/>
              <a:gd name="connsiteX31" fmla="*/ 107590 w 523875"/>
              <a:gd name="connsiteY31" fmla="*/ 488823 h 504825"/>
              <a:gd name="connsiteX32" fmla="*/ 152262 w 523875"/>
              <a:gd name="connsiteY32" fmla="*/ 503396 h 504825"/>
              <a:gd name="connsiteX33" fmla="*/ 164359 w 523875"/>
              <a:gd name="connsiteY33" fmla="*/ 502444 h 504825"/>
              <a:gd name="connsiteX34" fmla="*/ 214079 w 523875"/>
              <a:gd name="connsiteY34" fmla="*/ 471964 h 504825"/>
              <a:gd name="connsiteX35" fmla="*/ 227700 w 523875"/>
              <a:gd name="connsiteY35" fmla="*/ 415290 h 504825"/>
              <a:gd name="connsiteX36" fmla="*/ 211222 w 523875"/>
              <a:gd name="connsiteY36" fmla="*/ 378809 h 504825"/>
              <a:gd name="connsiteX37" fmla="*/ 237130 w 523875"/>
              <a:gd name="connsiteY37" fmla="*/ 343186 h 504825"/>
              <a:gd name="connsiteX38" fmla="*/ 264181 w 523875"/>
              <a:gd name="connsiteY38" fmla="*/ 348234 h 504825"/>
              <a:gd name="connsiteX39" fmla="*/ 291232 w 523875"/>
              <a:gd name="connsiteY39" fmla="*/ 343186 h 504825"/>
              <a:gd name="connsiteX40" fmla="*/ 317140 w 523875"/>
              <a:gd name="connsiteY40" fmla="*/ 378809 h 504825"/>
              <a:gd name="connsiteX41" fmla="*/ 300662 w 523875"/>
              <a:gd name="connsiteY41" fmla="*/ 415290 h 504825"/>
              <a:gd name="connsiteX42" fmla="*/ 314282 w 523875"/>
              <a:gd name="connsiteY42" fmla="*/ 471964 h 504825"/>
              <a:gd name="connsiteX43" fmla="*/ 364003 w 523875"/>
              <a:gd name="connsiteY43" fmla="*/ 502444 h 504825"/>
              <a:gd name="connsiteX44" fmla="*/ 376100 w 523875"/>
              <a:gd name="connsiteY44" fmla="*/ 503396 h 504825"/>
              <a:gd name="connsiteX45" fmla="*/ 420677 w 523875"/>
              <a:gd name="connsiteY45" fmla="*/ 488823 h 504825"/>
              <a:gd name="connsiteX46" fmla="*/ 451157 w 523875"/>
              <a:gd name="connsiteY46" fmla="*/ 439103 h 504825"/>
              <a:gd name="connsiteX47" fmla="*/ 437536 w 523875"/>
              <a:gd name="connsiteY47" fmla="*/ 382429 h 504825"/>
              <a:gd name="connsiteX48" fmla="*/ 387815 w 523875"/>
              <a:gd name="connsiteY48" fmla="*/ 351949 h 504825"/>
              <a:gd name="connsiteX49" fmla="*/ 348001 w 523875"/>
              <a:gd name="connsiteY49" fmla="*/ 356330 h 504825"/>
              <a:gd name="connsiteX50" fmla="*/ 322379 w 523875"/>
              <a:gd name="connsiteY50" fmla="*/ 321088 h 504825"/>
              <a:gd name="connsiteX51" fmla="*/ 340381 w 523875"/>
              <a:gd name="connsiteY51" fmla="*/ 271939 h 504825"/>
              <a:gd name="connsiteX52" fmla="*/ 340190 w 523875"/>
              <a:gd name="connsiteY52" fmla="*/ 268700 h 504825"/>
              <a:gd name="connsiteX53" fmla="*/ 380672 w 523875"/>
              <a:gd name="connsiteY53" fmla="*/ 255556 h 504825"/>
              <a:gd name="connsiteX54" fmla="*/ 410294 w 523875"/>
              <a:gd name="connsiteY54" fmla="*/ 282512 h 504825"/>
              <a:gd name="connsiteX55" fmla="*/ 444775 w 523875"/>
              <a:gd name="connsiteY55" fmla="*/ 290894 h 504825"/>
              <a:gd name="connsiteX56" fmla="*/ 468397 w 523875"/>
              <a:gd name="connsiteY56" fmla="*/ 287084 h 504825"/>
              <a:gd name="connsiteX57" fmla="*/ 512783 w 523875"/>
              <a:gd name="connsiteY57" fmla="*/ 249174 h 504825"/>
              <a:gd name="connsiteX58" fmla="*/ 517450 w 523875"/>
              <a:gd name="connsiteY58" fmla="*/ 191167 h 504825"/>
              <a:gd name="connsiteX59" fmla="*/ 119782 w 523875"/>
              <a:gd name="connsiteY59" fmla="*/ 226409 h 504825"/>
              <a:gd name="connsiteX60" fmla="*/ 100827 w 523875"/>
              <a:gd name="connsiteY60" fmla="*/ 248603 h 504825"/>
              <a:gd name="connsiteX61" fmla="*/ 71776 w 523875"/>
              <a:gd name="connsiteY61" fmla="*/ 250889 h 504825"/>
              <a:gd name="connsiteX62" fmla="*/ 49583 w 523875"/>
              <a:gd name="connsiteY62" fmla="*/ 231934 h 504825"/>
              <a:gd name="connsiteX63" fmla="*/ 47297 w 523875"/>
              <a:gd name="connsiteY63" fmla="*/ 202883 h 504825"/>
              <a:gd name="connsiteX64" fmla="*/ 66251 w 523875"/>
              <a:gd name="connsiteY64" fmla="*/ 180689 h 504825"/>
              <a:gd name="connsiteX65" fmla="*/ 83492 w 523875"/>
              <a:gd name="connsiteY65" fmla="*/ 176498 h 504825"/>
              <a:gd name="connsiteX66" fmla="*/ 95303 w 523875"/>
              <a:gd name="connsiteY66" fmla="*/ 178403 h 504825"/>
              <a:gd name="connsiteX67" fmla="*/ 95303 w 523875"/>
              <a:gd name="connsiteY67" fmla="*/ 178403 h 504825"/>
              <a:gd name="connsiteX68" fmla="*/ 117496 w 523875"/>
              <a:gd name="connsiteY68" fmla="*/ 197358 h 504825"/>
              <a:gd name="connsiteX69" fmla="*/ 119782 w 523875"/>
              <a:gd name="connsiteY69" fmla="*/ 226409 h 504825"/>
              <a:gd name="connsiteX70" fmla="*/ 226176 w 523875"/>
              <a:gd name="connsiteY70" fmla="*/ 83344 h 504825"/>
              <a:gd name="connsiteX71" fmla="*/ 264276 w 523875"/>
              <a:gd name="connsiteY71" fmla="*/ 45244 h 504825"/>
              <a:gd name="connsiteX72" fmla="*/ 302376 w 523875"/>
              <a:gd name="connsiteY72" fmla="*/ 83344 h 504825"/>
              <a:gd name="connsiteX73" fmla="*/ 264276 w 523875"/>
              <a:gd name="connsiteY73" fmla="*/ 121444 h 504825"/>
              <a:gd name="connsiteX74" fmla="*/ 226176 w 523875"/>
              <a:gd name="connsiteY74" fmla="*/ 83344 h 504825"/>
              <a:gd name="connsiteX75" fmla="*/ 183409 w 523875"/>
              <a:gd name="connsiteY75" fmla="*/ 449485 h 504825"/>
              <a:gd name="connsiteX76" fmla="*/ 158549 w 523875"/>
              <a:gd name="connsiteY76" fmla="*/ 464725 h 504825"/>
              <a:gd name="connsiteX77" fmla="*/ 130164 w 523875"/>
              <a:gd name="connsiteY77" fmla="*/ 457962 h 504825"/>
              <a:gd name="connsiteX78" fmla="*/ 114924 w 523875"/>
              <a:gd name="connsiteY78" fmla="*/ 433102 h 504825"/>
              <a:gd name="connsiteX79" fmla="*/ 121687 w 523875"/>
              <a:gd name="connsiteY79" fmla="*/ 404717 h 504825"/>
              <a:gd name="connsiteX80" fmla="*/ 146547 w 523875"/>
              <a:gd name="connsiteY80" fmla="*/ 389477 h 504825"/>
              <a:gd name="connsiteX81" fmla="*/ 152548 w 523875"/>
              <a:gd name="connsiteY81" fmla="*/ 389001 h 504825"/>
              <a:gd name="connsiteX82" fmla="*/ 174836 w 523875"/>
              <a:gd name="connsiteY82" fmla="*/ 396335 h 504825"/>
              <a:gd name="connsiteX83" fmla="*/ 190076 w 523875"/>
              <a:gd name="connsiteY83" fmla="*/ 421196 h 504825"/>
              <a:gd name="connsiteX84" fmla="*/ 183409 w 523875"/>
              <a:gd name="connsiteY84" fmla="*/ 449485 h 504825"/>
              <a:gd name="connsiteX85" fmla="*/ 226176 w 523875"/>
              <a:gd name="connsiteY85" fmla="*/ 271939 h 504825"/>
              <a:gd name="connsiteX86" fmla="*/ 264276 w 523875"/>
              <a:gd name="connsiteY86" fmla="*/ 233839 h 504825"/>
              <a:gd name="connsiteX87" fmla="*/ 302376 w 523875"/>
              <a:gd name="connsiteY87" fmla="*/ 271939 h 504825"/>
              <a:gd name="connsiteX88" fmla="*/ 264276 w 523875"/>
              <a:gd name="connsiteY88" fmla="*/ 310039 h 504825"/>
              <a:gd name="connsiteX89" fmla="*/ 226176 w 523875"/>
              <a:gd name="connsiteY89" fmla="*/ 271939 h 504825"/>
              <a:gd name="connsiteX90" fmla="*/ 375814 w 523875"/>
              <a:gd name="connsiteY90" fmla="*/ 389001 h 504825"/>
              <a:gd name="connsiteX91" fmla="*/ 381815 w 523875"/>
              <a:gd name="connsiteY91" fmla="*/ 389477 h 504825"/>
              <a:gd name="connsiteX92" fmla="*/ 406675 w 523875"/>
              <a:gd name="connsiteY92" fmla="*/ 404717 h 504825"/>
              <a:gd name="connsiteX93" fmla="*/ 413438 w 523875"/>
              <a:gd name="connsiteY93" fmla="*/ 433102 h 504825"/>
              <a:gd name="connsiteX94" fmla="*/ 398198 w 523875"/>
              <a:gd name="connsiteY94" fmla="*/ 457962 h 504825"/>
              <a:gd name="connsiteX95" fmla="*/ 369813 w 523875"/>
              <a:gd name="connsiteY95" fmla="*/ 464725 h 504825"/>
              <a:gd name="connsiteX96" fmla="*/ 344953 w 523875"/>
              <a:gd name="connsiteY96" fmla="*/ 449485 h 504825"/>
              <a:gd name="connsiteX97" fmla="*/ 338190 w 523875"/>
              <a:gd name="connsiteY97" fmla="*/ 421100 h 504825"/>
              <a:gd name="connsiteX98" fmla="*/ 353430 w 523875"/>
              <a:gd name="connsiteY98" fmla="*/ 396240 h 504825"/>
              <a:gd name="connsiteX99" fmla="*/ 375814 w 523875"/>
              <a:gd name="connsiteY99" fmla="*/ 389001 h 504825"/>
              <a:gd name="connsiteX100" fmla="*/ 478874 w 523875"/>
              <a:gd name="connsiteY100" fmla="*/ 231934 h 504825"/>
              <a:gd name="connsiteX101" fmla="*/ 456681 w 523875"/>
              <a:gd name="connsiteY101" fmla="*/ 250889 h 504825"/>
              <a:gd name="connsiteX102" fmla="*/ 456681 w 523875"/>
              <a:gd name="connsiteY102" fmla="*/ 250889 h 504825"/>
              <a:gd name="connsiteX103" fmla="*/ 427630 w 523875"/>
              <a:gd name="connsiteY103" fmla="*/ 248603 h 504825"/>
              <a:gd name="connsiteX104" fmla="*/ 408675 w 523875"/>
              <a:gd name="connsiteY104" fmla="*/ 226409 h 504825"/>
              <a:gd name="connsiteX105" fmla="*/ 410961 w 523875"/>
              <a:gd name="connsiteY105" fmla="*/ 197358 h 504825"/>
              <a:gd name="connsiteX106" fmla="*/ 433154 w 523875"/>
              <a:gd name="connsiteY106" fmla="*/ 178403 h 504825"/>
              <a:gd name="connsiteX107" fmla="*/ 444965 w 523875"/>
              <a:gd name="connsiteY107" fmla="*/ 176498 h 504825"/>
              <a:gd name="connsiteX108" fmla="*/ 462206 w 523875"/>
              <a:gd name="connsiteY108" fmla="*/ 180689 h 504825"/>
              <a:gd name="connsiteX109" fmla="*/ 481160 w 523875"/>
              <a:gd name="connsiteY109" fmla="*/ 202883 h 504825"/>
              <a:gd name="connsiteX110" fmla="*/ 478874 w 523875"/>
              <a:gd name="connsiteY110" fmla="*/ 23193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523875" h="504825">
                <a:moveTo>
                  <a:pt x="517450" y="191167"/>
                </a:moveTo>
                <a:cubicBezTo>
                  <a:pt x="511164" y="171831"/>
                  <a:pt x="497734" y="156020"/>
                  <a:pt x="479541" y="146780"/>
                </a:cubicBezTo>
                <a:cubicBezTo>
                  <a:pt x="461444" y="137541"/>
                  <a:pt x="440774" y="135922"/>
                  <a:pt x="421439" y="142208"/>
                </a:cubicBezTo>
                <a:cubicBezTo>
                  <a:pt x="402103" y="148495"/>
                  <a:pt x="386291" y="161925"/>
                  <a:pt x="377052" y="180118"/>
                </a:cubicBezTo>
                <a:cubicBezTo>
                  <a:pt x="370766" y="192405"/>
                  <a:pt x="368099" y="205931"/>
                  <a:pt x="368956" y="219361"/>
                </a:cubicBezTo>
                <a:lnTo>
                  <a:pt x="329141" y="232315"/>
                </a:lnTo>
                <a:cubicBezTo>
                  <a:pt x="318950" y="215646"/>
                  <a:pt x="302567" y="203264"/>
                  <a:pt x="283231" y="198311"/>
                </a:cubicBezTo>
                <a:lnTo>
                  <a:pt x="283231" y="157067"/>
                </a:lnTo>
                <a:cubicBezTo>
                  <a:pt x="315997" y="148590"/>
                  <a:pt x="340381" y="118777"/>
                  <a:pt x="340381" y="83344"/>
                </a:cubicBezTo>
                <a:cubicBezTo>
                  <a:pt x="340381" y="41339"/>
                  <a:pt x="306186" y="7144"/>
                  <a:pt x="264181" y="7144"/>
                </a:cubicBezTo>
                <a:cubicBezTo>
                  <a:pt x="222176" y="7144"/>
                  <a:pt x="187981" y="41339"/>
                  <a:pt x="187981" y="83344"/>
                </a:cubicBezTo>
                <a:cubicBezTo>
                  <a:pt x="187981" y="118777"/>
                  <a:pt x="212365" y="148590"/>
                  <a:pt x="245131" y="157067"/>
                </a:cubicBezTo>
                <a:lnTo>
                  <a:pt x="245131" y="198215"/>
                </a:lnTo>
                <a:cubicBezTo>
                  <a:pt x="225795" y="203264"/>
                  <a:pt x="209412" y="215646"/>
                  <a:pt x="199220" y="232220"/>
                </a:cubicBezTo>
                <a:lnTo>
                  <a:pt x="159406" y="219266"/>
                </a:lnTo>
                <a:cubicBezTo>
                  <a:pt x="160263" y="205835"/>
                  <a:pt x="157596" y="192310"/>
                  <a:pt x="151310" y="180023"/>
                </a:cubicBezTo>
                <a:cubicBezTo>
                  <a:pt x="142070" y="161925"/>
                  <a:pt x="126354" y="148400"/>
                  <a:pt x="106923" y="142113"/>
                </a:cubicBezTo>
                <a:cubicBezTo>
                  <a:pt x="87587" y="135827"/>
                  <a:pt x="66918" y="137446"/>
                  <a:pt x="48821" y="146685"/>
                </a:cubicBezTo>
                <a:cubicBezTo>
                  <a:pt x="30723" y="155924"/>
                  <a:pt x="17198" y="171641"/>
                  <a:pt x="10911" y="191072"/>
                </a:cubicBezTo>
                <a:cubicBezTo>
                  <a:pt x="4625" y="210407"/>
                  <a:pt x="6244" y="231077"/>
                  <a:pt x="15483" y="249174"/>
                </a:cubicBezTo>
                <a:cubicBezTo>
                  <a:pt x="24722" y="267272"/>
                  <a:pt x="40439" y="280797"/>
                  <a:pt x="59870" y="287084"/>
                </a:cubicBezTo>
                <a:cubicBezTo>
                  <a:pt x="67585" y="289560"/>
                  <a:pt x="75586" y="290894"/>
                  <a:pt x="83492" y="290894"/>
                </a:cubicBezTo>
                <a:cubicBezTo>
                  <a:pt x="95398" y="290894"/>
                  <a:pt x="107114" y="288131"/>
                  <a:pt x="117972" y="282512"/>
                </a:cubicBezTo>
                <a:cubicBezTo>
                  <a:pt x="130259" y="276225"/>
                  <a:pt x="140356" y="266891"/>
                  <a:pt x="147595" y="255556"/>
                </a:cubicBezTo>
                <a:lnTo>
                  <a:pt x="188076" y="268700"/>
                </a:lnTo>
                <a:cubicBezTo>
                  <a:pt x="188076" y="269748"/>
                  <a:pt x="187886" y="270796"/>
                  <a:pt x="187886" y="271939"/>
                </a:cubicBezTo>
                <a:cubicBezTo>
                  <a:pt x="187886" y="290608"/>
                  <a:pt x="194648" y="307753"/>
                  <a:pt x="205888" y="321088"/>
                </a:cubicBezTo>
                <a:lnTo>
                  <a:pt x="180266" y="356330"/>
                </a:lnTo>
                <a:cubicBezTo>
                  <a:pt x="167693" y="351377"/>
                  <a:pt x="154072" y="349758"/>
                  <a:pt x="140451" y="351949"/>
                </a:cubicBezTo>
                <a:cubicBezTo>
                  <a:pt x="120353" y="355092"/>
                  <a:pt x="102732" y="365951"/>
                  <a:pt x="90731" y="382429"/>
                </a:cubicBezTo>
                <a:cubicBezTo>
                  <a:pt x="78729" y="398907"/>
                  <a:pt x="73967" y="419005"/>
                  <a:pt x="77110" y="439103"/>
                </a:cubicBezTo>
                <a:cubicBezTo>
                  <a:pt x="80253" y="459200"/>
                  <a:pt x="91112" y="476822"/>
                  <a:pt x="107590" y="488823"/>
                </a:cubicBezTo>
                <a:cubicBezTo>
                  <a:pt x="120734" y="498348"/>
                  <a:pt x="136260" y="503396"/>
                  <a:pt x="152262" y="503396"/>
                </a:cubicBezTo>
                <a:cubicBezTo>
                  <a:pt x="156263" y="503396"/>
                  <a:pt x="160263" y="503111"/>
                  <a:pt x="164359" y="502444"/>
                </a:cubicBezTo>
                <a:cubicBezTo>
                  <a:pt x="184457" y="499301"/>
                  <a:pt x="202078" y="488442"/>
                  <a:pt x="214079" y="471964"/>
                </a:cubicBezTo>
                <a:cubicBezTo>
                  <a:pt x="226081" y="455486"/>
                  <a:pt x="230843" y="435388"/>
                  <a:pt x="227700" y="415290"/>
                </a:cubicBezTo>
                <a:cubicBezTo>
                  <a:pt x="225509" y="401669"/>
                  <a:pt x="219794" y="389192"/>
                  <a:pt x="211222" y="378809"/>
                </a:cubicBezTo>
                <a:lnTo>
                  <a:pt x="237130" y="343186"/>
                </a:lnTo>
                <a:cubicBezTo>
                  <a:pt x="245512" y="346424"/>
                  <a:pt x="254656" y="348234"/>
                  <a:pt x="264181" y="348234"/>
                </a:cubicBezTo>
                <a:cubicBezTo>
                  <a:pt x="273706" y="348234"/>
                  <a:pt x="282850" y="346424"/>
                  <a:pt x="291232" y="343186"/>
                </a:cubicBezTo>
                <a:lnTo>
                  <a:pt x="317140" y="378809"/>
                </a:lnTo>
                <a:cubicBezTo>
                  <a:pt x="308567" y="389192"/>
                  <a:pt x="302757" y="401669"/>
                  <a:pt x="300662" y="415290"/>
                </a:cubicBezTo>
                <a:cubicBezTo>
                  <a:pt x="297518" y="435388"/>
                  <a:pt x="302281" y="455581"/>
                  <a:pt x="314282" y="471964"/>
                </a:cubicBezTo>
                <a:cubicBezTo>
                  <a:pt x="326284" y="488442"/>
                  <a:pt x="343905" y="499205"/>
                  <a:pt x="364003" y="502444"/>
                </a:cubicBezTo>
                <a:cubicBezTo>
                  <a:pt x="368003" y="503111"/>
                  <a:pt x="372099" y="503396"/>
                  <a:pt x="376100" y="503396"/>
                </a:cubicBezTo>
                <a:cubicBezTo>
                  <a:pt x="392102" y="503396"/>
                  <a:pt x="407532" y="498348"/>
                  <a:pt x="420677" y="488823"/>
                </a:cubicBezTo>
                <a:cubicBezTo>
                  <a:pt x="437155" y="476822"/>
                  <a:pt x="448013" y="459200"/>
                  <a:pt x="451157" y="439103"/>
                </a:cubicBezTo>
                <a:cubicBezTo>
                  <a:pt x="454300" y="419005"/>
                  <a:pt x="449537" y="398812"/>
                  <a:pt x="437536" y="382429"/>
                </a:cubicBezTo>
                <a:cubicBezTo>
                  <a:pt x="425534" y="365951"/>
                  <a:pt x="407913" y="355187"/>
                  <a:pt x="387815" y="351949"/>
                </a:cubicBezTo>
                <a:cubicBezTo>
                  <a:pt x="374195" y="349758"/>
                  <a:pt x="360479" y="351377"/>
                  <a:pt x="348001" y="356330"/>
                </a:cubicBezTo>
                <a:lnTo>
                  <a:pt x="322379" y="321088"/>
                </a:lnTo>
                <a:cubicBezTo>
                  <a:pt x="333618" y="307848"/>
                  <a:pt x="340381" y="290703"/>
                  <a:pt x="340381" y="271939"/>
                </a:cubicBezTo>
                <a:cubicBezTo>
                  <a:pt x="340381" y="270891"/>
                  <a:pt x="340286" y="269843"/>
                  <a:pt x="340190" y="268700"/>
                </a:cubicBezTo>
                <a:lnTo>
                  <a:pt x="380672" y="255556"/>
                </a:lnTo>
                <a:cubicBezTo>
                  <a:pt x="387911" y="266891"/>
                  <a:pt x="398007" y="276225"/>
                  <a:pt x="410294" y="282512"/>
                </a:cubicBezTo>
                <a:cubicBezTo>
                  <a:pt x="421153" y="288036"/>
                  <a:pt x="432964" y="290894"/>
                  <a:pt x="444775" y="290894"/>
                </a:cubicBezTo>
                <a:cubicBezTo>
                  <a:pt x="452681" y="290894"/>
                  <a:pt x="460682" y="289655"/>
                  <a:pt x="468397" y="287084"/>
                </a:cubicBezTo>
                <a:cubicBezTo>
                  <a:pt x="487733" y="280797"/>
                  <a:pt x="503544" y="267367"/>
                  <a:pt x="512783" y="249174"/>
                </a:cubicBezTo>
                <a:cubicBezTo>
                  <a:pt x="522118" y="231172"/>
                  <a:pt x="523737" y="210503"/>
                  <a:pt x="517450" y="191167"/>
                </a:cubicBezTo>
                <a:close/>
                <a:moveTo>
                  <a:pt x="119782" y="226409"/>
                </a:moveTo>
                <a:cubicBezTo>
                  <a:pt x="116639" y="236125"/>
                  <a:pt x="109876" y="243935"/>
                  <a:pt x="100827" y="248603"/>
                </a:cubicBezTo>
                <a:cubicBezTo>
                  <a:pt x="91778" y="253175"/>
                  <a:pt x="81396" y="254032"/>
                  <a:pt x="71776" y="250889"/>
                </a:cubicBezTo>
                <a:cubicBezTo>
                  <a:pt x="62060" y="247745"/>
                  <a:pt x="54250" y="240983"/>
                  <a:pt x="49583" y="231934"/>
                </a:cubicBezTo>
                <a:cubicBezTo>
                  <a:pt x="45011" y="222885"/>
                  <a:pt x="44153" y="212503"/>
                  <a:pt x="47297" y="202883"/>
                </a:cubicBezTo>
                <a:cubicBezTo>
                  <a:pt x="50440" y="193167"/>
                  <a:pt x="57203" y="185357"/>
                  <a:pt x="66251" y="180689"/>
                </a:cubicBezTo>
                <a:cubicBezTo>
                  <a:pt x="71681" y="177927"/>
                  <a:pt x="77586" y="176498"/>
                  <a:pt x="83492" y="176498"/>
                </a:cubicBezTo>
                <a:cubicBezTo>
                  <a:pt x="87492" y="176498"/>
                  <a:pt x="91397" y="177165"/>
                  <a:pt x="95303" y="178403"/>
                </a:cubicBezTo>
                <a:lnTo>
                  <a:pt x="95303" y="178403"/>
                </a:lnTo>
                <a:cubicBezTo>
                  <a:pt x="105018" y="181547"/>
                  <a:pt x="112829" y="188309"/>
                  <a:pt x="117496" y="197358"/>
                </a:cubicBezTo>
                <a:cubicBezTo>
                  <a:pt x="122068" y="206407"/>
                  <a:pt x="122925" y="216789"/>
                  <a:pt x="119782" y="226409"/>
                </a:cubicBezTo>
                <a:close/>
                <a:moveTo>
                  <a:pt x="226176" y="83344"/>
                </a:moveTo>
                <a:cubicBezTo>
                  <a:pt x="226176" y="62294"/>
                  <a:pt x="243226" y="45244"/>
                  <a:pt x="264276" y="45244"/>
                </a:cubicBezTo>
                <a:cubicBezTo>
                  <a:pt x="285326" y="45244"/>
                  <a:pt x="302376" y="62294"/>
                  <a:pt x="302376" y="83344"/>
                </a:cubicBezTo>
                <a:cubicBezTo>
                  <a:pt x="302376" y="104394"/>
                  <a:pt x="285326" y="121444"/>
                  <a:pt x="264276" y="121444"/>
                </a:cubicBezTo>
                <a:cubicBezTo>
                  <a:pt x="243226" y="121444"/>
                  <a:pt x="226176" y="104394"/>
                  <a:pt x="226176" y="83344"/>
                </a:cubicBezTo>
                <a:close/>
                <a:moveTo>
                  <a:pt x="183409" y="449485"/>
                </a:moveTo>
                <a:cubicBezTo>
                  <a:pt x="177408" y="457676"/>
                  <a:pt x="168645" y="463106"/>
                  <a:pt x="158549" y="464725"/>
                </a:cubicBezTo>
                <a:cubicBezTo>
                  <a:pt x="148547" y="466344"/>
                  <a:pt x="138451" y="463868"/>
                  <a:pt x="130164" y="457962"/>
                </a:cubicBezTo>
                <a:cubicBezTo>
                  <a:pt x="121973" y="451961"/>
                  <a:pt x="116543" y="443198"/>
                  <a:pt x="114924" y="433102"/>
                </a:cubicBezTo>
                <a:cubicBezTo>
                  <a:pt x="113305" y="423101"/>
                  <a:pt x="115781" y="413004"/>
                  <a:pt x="121687" y="404717"/>
                </a:cubicBezTo>
                <a:cubicBezTo>
                  <a:pt x="127688" y="396526"/>
                  <a:pt x="136546" y="391097"/>
                  <a:pt x="146547" y="389477"/>
                </a:cubicBezTo>
                <a:cubicBezTo>
                  <a:pt x="148547" y="389192"/>
                  <a:pt x="150548" y="389001"/>
                  <a:pt x="152548" y="389001"/>
                </a:cubicBezTo>
                <a:cubicBezTo>
                  <a:pt x="160549" y="389001"/>
                  <a:pt x="168264" y="391478"/>
                  <a:pt x="174836" y="396335"/>
                </a:cubicBezTo>
                <a:cubicBezTo>
                  <a:pt x="183028" y="402336"/>
                  <a:pt x="188457" y="411099"/>
                  <a:pt x="190076" y="421196"/>
                </a:cubicBezTo>
                <a:cubicBezTo>
                  <a:pt x="191791" y="431197"/>
                  <a:pt x="189314" y="441293"/>
                  <a:pt x="183409" y="449485"/>
                </a:cubicBezTo>
                <a:close/>
                <a:moveTo>
                  <a:pt x="226176" y="271939"/>
                </a:moveTo>
                <a:cubicBezTo>
                  <a:pt x="226176" y="250889"/>
                  <a:pt x="243226" y="233839"/>
                  <a:pt x="264276" y="233839"/>
                </a:cubicBezTo>
                <a:cubicBezTo>
                  <a:pt x="285326" y="233839"/>
                  <a:pt x="302376" y="250889"/>
                  <a:pt x="302376" y="271939"/>
                </a:cubicBezTo>
                <a:cubicBezTo>
                  <a:pt x="302376" y="292989"/>
                  <a:pt x="285326" y="310039"/>
                  <a:pt x="264276" y="310039"/>
                </a:cubicBezTo>
                <a:cubicBezTo>
                  <a:pt x="243226" y="310039"/>
                  <a:pt x="226176" y="292894"/>
                  <a:pt x="226176" y="271939"/>
                </a:cubicBezTo>
                <a:close/>
                <a:moveTo>
                  <a:pt x="375814" y="389001"/>
                </a:moveTo>
                <a:cubicBezTo>
                  <a:pt x="377814" y="389001"/>
                  <a:pt x="379814" y="389192"/>
                  <a:pt x="381815" y="389477"/>
                </a:cubicBezTo>
                <a:cubicBezTo>
                  <a:pt x="391911" y="391097"/>
                  <a:pt x="400674" y="396526"/>
                  <a:pt x="406675" y="404717"/>
                </a:cubicBezTo>
                <a:cubicBezTo>
                  <a:pt x="412676" y="412909"/>
                  <a:pt x="415057" y="423005"/>
                  <a:pt x="413438" y="433102"/>
                </a:cubicBezTo>
                <a:cubicBezTo>
                  <a:pt x="411818" y="443198"/>
                  <a:pt x="406389" y="451961"/>
                  <a:pt x="398198" y="457962"/>
                </a:cubicBezTo>
                <a:cubicBezTo>
                  <a:pt x="390006" y="463963"/>
                  <a:pt x="379910" y="466344"/>
                  <a:pt x="369813" y="464725"/>
                </a:cubicBezTo>
                <a:cubicBezTo>
                  <a:pt x="359717" y="463106"/>
                  <a:pt x="350954" y="457676"/>
                  <a:pt x="344953" y="449485"/>
                </a:cubicBezTo>
                <a:cubicBezTo>
                  <a:pt x="338952" y="441293"/>
                  <a:pt x="336571" y="431197"/>
                  <a:pt x="338190" y="421100"/>
                </a:cubicBezTo>
                <a:cubicBezTo>
                  <a:pt x="339809" y="411004"/>
                  <a:pt x="345143" y="402241"/>
                  <a:pt x="353430" y="396240"/>
                </a:cubicBezTo>
                <a:cubicBezTo>
                  <a:pt x="360098" y="391573"/>
                  <a:pt x="367908" y="389001"/>
                  <a:pt x="375814" y="389001"/>
                </a:cubicBezTo>
                <a:close/>
                <a:moveTo>
                  <a:pt x="478874" y="231934"/>
                </a:moveTo>
                <a:cubicBezTo>
                  <a:pt x="474207" y="240983"/>
                  <a:pt x="466397" y="247745"/>
                  <a:pt x="456681" y="250889"/>
                </a:cubicBezTo>
                <a:lnTo>
                  <a:pt x="456681" y="250889"/>
                </a:lnTo>
                <a:cubicBezTo>
                  <a:pt x="446966" y="254032"/>
                  <a:pt x="436679" y="253270"/>
                  <a:pt x="427630" y="248603"/>
                </a:cubicBezTo>
                <a:cubicBezTo>
                  <a:pt x="418581" y="243935"/>
                  <a:pt x="411818" y="236125"/>
                  <a:pt x="408675" y="226409"/>
                </a:cubicBezTo>
                <a:cubicBezTo>
                  <a:pt x="405532" y="216694"/>
                  <a:pt x="406294" y="206407"/>
                  <a:pt x="410961" y="197358"/>
                </a:cubicBezTo>
                <a:cubicBezTo>
                  <a:pt x="415533" y="188309"/>
                  <a:pt x="423439" y="181547"/>
                  <a:pt x="433154" y="178403"/>
                </a:cubicBezTo>
                <a:cubicBezTo>
                  <a:pt x="437060" y="177165"/>
                  <a:pt x="440965" y="176498"/>
                  <a:pt x="444965" y="176498"/>
                </a:cubicBezTo>
                <a:cubicBezTo>
                  <a:pt x="450871" y="176498"/>
                  <a:pt x="456776" y="177927"/>
                  <a:pt x="462206" y="180689"/>
                </a:cubicBezTo>
                <a:cubicBezTo>
                  <a:pt x="471254" y="185357"/>
                  <a:pt x="478017" y="193167"/>
                  <a:pt x="481160" y="202883"/>
                </a:cubicBezTo>
                <a:cubicBezTo>
                  <a:pt x="484304" y="212598"/>
                  <a:pt x="483542" y="222885"/>
                  <a:pt x="478874" y="231934"/>
                </a:cubicBezTo>
                <a:close/>
              </a:path>
            </a:pathLst>
          </a:custGeom>
          <a:solidFill>
            <a:srgbClr val="6A80A3"/>
          </a:solidFill>
          <a:ln w="9525" cap="flat">
            <a:noFill/>
            <a:prstDash val="solid"/>
            <a:miter/>
          </a:ln>
        </p:spPr>
        <p:txBody>
          <a:bodyPr rtlCol="0" anchor="ctr"/>
          <a:lstStyle/>
          <a:p>
            <a:endParaRPr lang="en-US"/>
          </a:p>
        </p:txBody>
      </p:sp>
      <p:pic>
        <p:nvPicPr>
          <p:cNvPr id="21" name="Graphic 20">
            <a:extLst>
              <a:ext uri="{FF2B5EF4-FFF2-40B4-BE49-F238E27FC236}">
                <a16:creationId xmlns:a16="http://schemas.microsoft.com/office/drawing/2014/main" id="{C643D10B-DEDF-40DC-8AF2-58D7555F99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1714822" y="2164665"/>
            <a:ext cx="274320" cy="365760"/>
          </a:xfrm>
          <a:prstGeom prst="rect">
            <a:avLst/>
          </a:prstGeom>
        </p:spPr>
      </p:pic>
      <p:sp>
        <p:nvSpPr>
          <p:cNvPr id="22" name="Freeform: Shape 21">
            <a:extLst>
              <a:ext uri="{FF2B5EF4-FFF2-40B4-BE49-F238E27FC236}">
                <a16:creationId xmlns:a16="http://schemas.microsoft.com/office/drawing/2014/main" id="{DF15C15C-A568-420A-ACD5-DE7A20392180}"/>
              </a:ext>
            </a:extLst>
          </p:cNvPr>
          <p:cNvSpPr>
            <a:spLocks noChangeAspect="1"/>
          </p:cNvSpPr>
          <p:nvPr/>
        </p:nvSpPr>
        <p:spPr bwMode="gray">
          <a:xfrm>
            <a:off x="10040688" y="2164665"/>
            <a:ext cx="365760" cy="365760"/>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6A80A3"/>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2C60E6C-5B89-428D-B2FE-E44DDAE2E3A1}"/>
              </a:ext>
            </a:extLst>
          </p:cNvPr>
          <p:cNvSpPr/>
          <p:nvPr/>
        </p:nvSpPr>
        <p:spPr>
          <a:xfrm>
            <a:off x="9446328" y="4114758"/>
            <a:ext cx="1554480" cy="1419518"/>
          </a:xfrm>
          <a:custGeom>
            <a:avLst/>
            <a:gdLst>
              <a:gd name="connsiteX0" fmla="*/ 0 w 1285875"/>
              <a:gd name="connsiteY0" fmla="*/ 0 h 1504950"/>
              <a:gd name="connsiteX1" fmla="*/ 1285875 w 1285875"/>
              <a:gd name="connsiteY1" fmla="*/ 0 h 1504950"/>
              <a:gd name="connsiteX2" fmla="*/ 1285875 w 1285875"/>
              <a:gd name="connsiteY2" fmla="*/ 1505903 h 1504950"/>
              <a:gd name="connsiteX3" fmla="*/ 0 w 1285875"/>
              <a:gd name="connsiteY3" fmla="*/ 1505903 h 1504950"/>
            </a:gdLst>
            <a:ahLst/>
            <a:cxnLst>
              <a:cxn ang="0">
                <a:pos x="connsiteX0" y="connsiteY0"/>
              </a:cxn>
              <a:cxn ang="0">
                <a:pos x="connsiteX1" y="connsiteY1"/>
              </a:cxn>
              <a:cxn ang="0">
                <a:pos x="connsiteX2" y="connsiteY2"/>
              </a:cxn>
              <a:cxn ang="0">
                <a:pos x="connsiteX3" y="connsiteY3"/>
              </a:cxn>
            </a:cxnLst>
            <a:rect l="l" t="t" r="r" b="b"/>
            <a:pathLst>
              <a:path w="1285875" h="1504950">
                <a:moveTo>
                  <a:pt x="0" y="0"/>
                </a:moveTo>
                <a:lnTo>
                  <a:pt x="1285875" y="0"/>
                </a:lnTo>
                <a:lnTo>
                  <a:pt x="1285875" y="1505903"/>
                </a:lnTo>
                <a:lnTo>
                  <a:pt x="0" y="1505903"/>
                </a:lnTo>
                <a:close/>
              </a:path>
            </a:pathLst>
          </a:custGeom>
          <a:solidFill>
            <a:schemeClr val="bg1"/>
          </a:solidFill>
          <a:ln w="9525" cap="flat">
            <a:noFill/>
            <a:prstDash val="solid"/>
            <a:miter/>
          </a:ln>
        </p:spPr>
        <p:txBody>
          <a:bodyPr rtlCol="0" anchor="ctr"/>
          <a:lstStyle/>
          <a:p>
            <a:pPr>
              <a:buClr>
                <a:srgbClr val="002856"/>
              </a:buClr>
            </a:pPr>
            <a:r>
              <a:rPr lang="en-US" sz="1400">
                <a:solidFill>
                  <a:srgbClr val="000000"/>
                </a:solidFill>
              </a:rPr>
              <a:t>Processes and procedures to operationalize and incentivize target state implementation</a:t>
            </a:r>
          </a:p>
        </p:txBody>
      </p:sp>
      <p:sp>
        <p:nvSpPr>
          <p:cNvPr id="24" name="Freeform: Shape 23">
            <a:extLst>
              <a:ext uri="{FF2B5EF4-FFF2-40B4-BE49-F238E27FC236}">
                <a16:creationId xmlns:a16="http://schemas.microsoft.com/office/drawing/2014/main" id="{72621A43-B888-407C-BED4-E66AAFCC7A55}"/>
              </a:ext>
            </a:extLst>
          </p:cNvPr>
          <p:cNvSpPr/>
          <p:nvPr/>
        </p:nvSpPr>
        <p:spPr>
          <a:xfrm>
            <a:off x="3897427" y="3163066"/>
            <a:ext cx="1554480" cy="1447824"/>
          </a:xfrm>
          <a:custGeom>
            <a:avLst/>
            <a:gdLst>
              <a:gd name="connsiteX0" fmla="*/ 0 w 1209675"/>
              <a:gd name="connsiteY0" fmla="*/ 0 h 2333625"/>
              <a:gd name="connsiteX1" fmla="*/ 1218724 w 1209675"/>
              <a:gd name="connsiteY1" fmla="*/ 0 h 2333625"/>
              <a:gd name="connsiteX2" fmla="*/ 1218724 w 1209675"/>
              <a:gd name="connsiteY2" fmla="*/ 2340293 h 2333625"/>
              <a:gd name="connsiteX3" fmla="*/ 0 w 1209675"/>
              <a:gd name="connsiteY3" fmla="*/ 2340293 h 2333625"/>
            </a:gdLst>
            <a:ahLst/>
            <a:cxnLst>
              <a:cxn ang="0">
                <a:pos x="connsiteX0" y="connsiteY0"/>
              </a:cxn>
              <a:cxn ang="0">
                <a:pos x="connsiteX1" y="connsiteY1"/>
              </a:cxn>
              <a:cxn ang="0">
                <a:pos x="connsiteX2" y="connsiteY2"/>
              </a:cxn>
              <a:cxn ang="0">
                <a:pos x="connsiteX3" y="connsiteY3"/>
              </a:cxn>
            </a:cxnLst>
            <a:rect l="l" t="t" r="r" b="b"/>
            <a:pathLst>
              <a:path w="1209675" h="2333625">
                <a:moveTo>
                  <a:pt x="0" y="0"/>
                </a:moveTo>
                <a:lnTo>
                  <a:pt x="1218724" y="0"/>
                </a:lnTo>
                <a:lnTo>
                  <a:pt x="1218724" y="2340293"/>
                </a:lnTo>
                <a:lnTo>
                  <a:pt x="0" y="2340293"/>
                </a:lnTo>
                <a:close/>
              </a:path>
            </a:pathLst>
          </a:custGeom>
          <a:solidFill>
            <a:schemeClr val="bg1"/>
          </a:solidFill>
          <a:ln w="9525" cap="flat">
            <a:noFill/>
            <a:prstDash val="solid"/>
            <a:miter/>
          </a:ln>
        </p:spPr>
        <p:txBody>
          <a:bodyPr lIns="0" tIns="0" rIns="0" bIns="0" rtlCol="0" anchor="ctr"/>
          <a:lstStyle/>
          <a:p>
            <a:pPr>
              <a:buClr>
                <a:srgbClr val="002856"/>
              </a:buClr>
            </a:pPr>
            <a:r>
              <a:rPr lang="en-US" sz="1400">
                <a:solidFill>
                  <a:srgbClr val="000000"/>
                </a:solidFill>
              </a:rPr>
              <a:t>The defined interagency roles, responsibilities, accountabilities, and processes to support transparent decision making</a:t>
            </a:r>
          </a:p>
        </p:txBody>
      </p:sp>
      <p:sp>
        <p:nvSpPr>
          <p:cNvPr id="25" name="Freeform: Shape 24">
            <a:extLst>
              <a:ext uri="{FF2B5EF4-FFF2-40B4-BE49-F238E27FC236}">
                <a16:creationId xmlns:a16="http://schemas.microsoft.com/office/drawing/2014/main" id="{C03C007F-491E-4F73-B4DF-EA1F1E88AAE8}"/>
              </a:ext>
            </a:extLst>
          </p:cNvPr>
          <p:cNvSpPr/>
          <p:nvPr/>
        </p:nvSpPr>
        <p:spPr>
          <a:xfrm>
            <a:off x="6679480" y="3305085"/>
            <a:ext cx="1554480" cy="1806573"/>
          </a:xfrm>
          <a:custGeom>
            <a:avLst/>
            <a:gdLst>
              <a:gd name="connsiteX0" fmla="*/ 0 w 1162050"/>
              <a:gd name="connsiteY0" fmla="*/ 0 h 1695450"/>
              <a:gd name="connsiteX1" fmla="*/ 1165860 w 1162050"/>
              <a:gd name="connsiteY1" fmla="*/ 0 h 1695450"/>
              <a:gd name="connsiteX2" fmla="*/ 1165860 w 1162050"/>
              <a:gd name="connsiteY2" fmla="*/ 1695831 h 1695450"/>
              <a:gd name="connsiteX3" fmla="*/ 0 w 1162050"/>
              <a:gd name="connsiteY3" fmla="*/ 1695831 h 1695450"/>
            </a:gdLst>
            <a:ahLst/>
            <a:cxnLst>
              <a:cxn ang="0">
                <a:pos x="connsiteX0" y="connsiteY0"/>
              </a:cxn>
              <a:cxn ang="0">
                <a:pos x="connsiteX1" y="connsiteY1"/>
              </a:cxn>
              <a:cxn ang="0">
                <a:pos x="connsiteX2" y="connsiteY2"/>
              </a:cxn>
              <a:cxn ang="0">
                <a:pos x="connsiteX3" y="connsiteY3"/>
              </a:cxn>
            </a:cxnLst>
            <a:rect l="l" t="t" r="r" b="b"/>
            <a:pathLst>
              <a:path w="1162050" h="1695450">
                <a:moveTo>
                  <a:pt x="0" y="0"/>
                </a:moveTo>
                <a:lnTo>
                  <a:pt x="1165860" y="0"/>
                </a:lnTo>
                <a:lnTo>
                  <a:pt x="1165860" y="1695831"/>
                </a:lnTo>
                <a:lnTo>
                  <a:pt x="0" y="1695831"/>
                </a:lnTo>
                <a:close/>
              </a:path>
            </a:pathLst>
          </a:custGeom>
          <a:solidFill>
            <a:schemeClr val="bg1"/>
          </a:solidFill>
          <a:ln w="9525" cap="flat">
            <a:noFill/>
            <a:prstDash val="solid"/>
            <a:miter/>
          </a:ln>
        </p:spPr>
        <p:txBody>
          <a:bodyPr lIns="0" tIns="0" rIns="0" bIns="0" rtlCol="0" anchor="ctr"/>
          <a:lstStyle/>
          <a:p>
            <a:pPr>
              <a:buClr>
                <a:srgbClr val="002856"/>
              </a:buClr>
            </a:pPr>
            <a:r>
              <a:rPr lang="en-US" sz="1400">
                <a:solidFill>
                  <a:srgbClr val="000000"/>
                </a:solidFill>
              </a:rPr>
              <a:t>Identifying opportunities for the integration and development of supporting technologies that builds on existing capabilities</a:t>
            </a:r>
          </a:p>
        </p:txBody>
      </p:sp>
      <p:sp>
        <p:nvSpPr>
          <p:cNvPr id="26" name="Freeform: Shape 25">
            <a:extLst>
              <a:ext uri="{FF2B5EF4-FFF2-40B4-BE49-F238E27FC236}">
                <a16:creationId xmlns:a16="http://schemas.microsoft.com/office/drawing/2014/main" id="{21840AB0-02BE-4D28-B374-605614F17EB7}"/>
              </a:ext>
            </a:extLst>
          </p:cNvPr>
          <p:cNvSpPr/>
          <p:nvPr/>
        </p:nvSpPr>
        <p:spPr>
          <a:xfrm>
            <a:off x="1072651" y="3353847"/>
            <a:ext cx="1554480" cy="2108355"/>
          </a:xfrm>
          <a:custGeom>
            <a:avLst/>
            <a:gdLst>
              <a:gd name="connsiteX0" fmla="*/ 0 w 1162050"/>
              <a:gd name="connsiteY0" fmla="*/ 0 h 1228725"/>
              <a:gd name="connsiteX1" fmla="*/ 1165860 w 1162050"/>
              <a:gd name="connsiteY1" fmla="*/ 0 h 1228725"/>
              <a:gd name="connsiteX2" fmla="*/ 1165860 w 1162050"/>
              <a:gd name="connsiteY2" fmla="*/ 1237298 h 1228725"/>
              <a:gd name="connsiteX3" fmla="*/ 0 w 1162050"/>
              <a:gd name="connsiteY3" fmla="*/ 1237298 h 1228725"/>
            </a:gdLst>
            <a:ahLst/>
            <a:cxnLst>
              <a:cxn ang="0">
                <a:pos x="connsiteX0" y="connsiteY0"/>
              </a:cxn>
              <a:cxn ang="0">
                <a:pos x="connsiteX1" y="connsiteY1"/>
              </a:cxn>
              <a:cxn ang="0">
                <a:pos x="connsiteX2" y="connsiteY2"/>
              </a:cxn>
              <a:cxn ang="0">
                <a:pos x="connsiteX3" y="connsiteY3"/>
              </a:cxn>
            </a:cxnLst>
            <a:rect l="l" t="t" r="r" b="b"/>
            <a:pathLst>
              <a:path w="1162050" h="1228725">
                <a:moveTo>
                  <a:pt x="0" y="0"/>
                </a:moveTo>
                <a:lnTo>
                  <a:pt x="1165860" y="0"/>
                </a:lnTo>
                <a:lnTo>
                  <a:pt x="1165860" y="1237298"/>
                </a:lnTo>
                <a:lnTo>
                  <a:pt x="0" y="1237298"/>
                </a:lnTo>
                <a:close/>
              </a:path>
            </a:pathLst>
          </a:custGeom>
          <a:solidFill>
            <a:schemeClr val="bg1"/>
          </a:solidFill>
          <a:ln w="9525" cap="flat">
            <a:noFill/>
            <a:prstDash val="solid"/>
            <a:miter/>
          </a:ln>
        </p:spPr>
        <p:txBody>
          <a:bodyPr lIns="0" tIns="0" rIns="0" bIns="0" rtlCol="0" anchor="ctr"/>
          <a:lstStyle/>
          <a:p>
            <a:pPr lvl="0">
              <a:buClr>
                <a:srgbClr val="002856"/>
              </a:buClr>
            </a:pPr>
            <a:r>
              <a:rPr lang="en-US" sz="1400">
                <a:solidFill>
                  <a:srgbClr val="000000"/>
                </a:solidFill>
              </a:rPr>
              <a:t>Enabling linkages requires a common data language to support consistent data definitions and the operationalization of the unique identifier</a:t>
            </a:r>
          </a:p>
        </p:txBody>
      </p:sp>
      <p:cxnSp>
        <p:nvCxnSpPr>
          <p:cNvPr id="27" name="Connector: Elbow 26">
            <a:extLst>
              <a:ext uri="{FF2B5EF4-FFF2-40B4-BE49-F238E27FC236}">
                <a16:creationId xmlns:a16="http://schemas.microsoft.com/office/drawing/2014/main" id="{CC58B29B-DE71-4B56-8A4B-5E71B67346E1}"/>
              </a:ext>
            </a:extLst>
          </p:cNvPr>
          <p:cNvCxnSpPr>
            <a:cxnSpLocks/>
          </p:cNvCxnSpPr>
          <p:nvPr/>
        </p:nvCxnSpPr>
        <p:spPr>
          <a:xfrm flipV="1">
            <a:off x="2754231" y="3994093"/>
            <a:ext cx="869803" cy="689494"/>
          </a:xfrm>
          <a:prstGeom prst="bentConnector3">
            <a:avLst>
              <a:gd name="adj1" fmla="val 50000"/>
            </a:avLst>
          </a:prstGeom>
          <a:noFill/>
          <a:ln w="12700" cap="flat" cmpd="sng">
            <a:solidFill>
              <a:srgbClr val="6F7878"/>
            </a:solidFill>
            <a:prstDash val="solid"/>
            <a:round/>
            <a:headEnd type="oval" w="sm" len="med"/>
            <a:tailEnd type="triangle" w="lg" len="lg"/>
          </a:ln>
        </p:spPr>
      </p:cxnSp>
      <p:sp>
        <p:nvSpPr>
          <p:cNvPr id="28" name="Rectangle 27">
            <a:extLst>
              <a:ext uri="{FF2B5EF4-FFF2-40B4-BE49-F238E27FC236}">
                <a16:creationId xmlns:a16="http://schemas.microsoft.com/office/drawing/2014/main" id="{C1582633-F683-44E2-9066-2B27BE4826B0}"/>
              </a:ext>
            </a:extLst>
          </p:cNvPr>
          <p:cNvSpPr/>
          <p:nvPr/>
        </p:nvSpPr>
        <p:spPr bwMode="gray">
          <a:xfrm>
            <a:off x="2710499" y="4312307"/>
            <a:ext cx="943382" cy="230978"/>
          </a:xfrm>
          <a:prstGeom prst="rect">
            <a:avLst/>
          </a:prstGeom>
          <a:solidFill>
            <a:srgbClr val="FFFFFF"/>
          </a:solidFill>
        </p:spPr>
        <p:txBody>
          <a:bodyPr wrap="square" lIns="0" tIns="0" rIns="0" bIns="0">
            <a:noAutofit/>
          </a:bodyPr>
          <a:lstStyle/>
          <a:p>
            <a:pPr lvl="0" algn="ctr">
              <a:lnSpc>
                <a:spcPct val="107000"/>
              </a:lnSpc>
              <a:spcBef>
                <a:spcPct val="0"/>
              </a:spcBef>
              <a:defRPr/>
            </a:pPr>
            <a:r>
              <a:rPr lang="en-US" sz="1400" b="1" kern="0">
                <a:solidFill>
                  <a:schemeClr val="tx2"/>
                </a:solidFill>
                <a:ea typeface="Arial Unicode MS" pitchFamily="34" charset="-128"/>
              </a:rPr>
              <a:t>Guided by</a:t>
            </a:r>
          </a:p>
        </p:txBody>
      </p:sp>
      <p:cxnSp>
        <p:nvCxnSpPr>
          <p:cNvPr id="29" name="Connector: Elbow 28">
            <a:extLst>
              <a:ext uri="{FF2B5EF4-FFF2-40B4-BE49-F238E27FC236}">
                <a16:creationId xmlns:a16="http://schemas.microsoft.com/office/drawing/2014/main" id="{EA84CE2B-1543-4190-A0F0-96FE6A199444}"/>
              </a:ext>
            </a:extLst>
          </p:cNvPr>
          <p:cNvCxnSpPr>
            <a:cxnSpLocks/>
          </p:cNvCxnSpPr>
          <p:nvPr/>
        </p:nvCxnSpPr>
        <p:spPr>
          <a:xfrm>
            <a:off x="5593863" y="3713951"/>
            <a:ext cx="842298" cy="716663"/>
          </a:xfrm>
          <a:prstGeom prst="bentConnector3">
            <a:avLst>
              <a:gd name="adj1" fmla="val 50000"/>
            </a:avLst>
          </a:prstGeom>
          <a:noFill/>
          <a:ln w="12700" cap="flat" cmpd="sng">
            <a:solidFill>
              <a:srgbClr val="6F7878"/>
            </a:solidFill>
            <a:prstDash val="solid"/>
            <a:round/>
            <a:headEnd type="oval" w="sm" len="med"/>
            <a:tailEnd type="triangle" w="lg" len="lg"/>
          </a:ln>
        </p:spPr>
      </p:cxnSp>
      <p:sp>
        <p:nvSpPr>
          <p:cNvPr id="30" name="Rectangle 29">
            <a:extLst>
              <a:ext uri="{FF2B5EF4-FFF2-40B4-BE49-F238E27FC236}">
                <a16:creationId xmlns:a16="http://schemas.microsoft.com/office/drawing/2014/main" id="{6740083B-CA98-40CF-8D7F-7222F2F09282}"/>
              </a:ext>
            </a:extLst>
          </p:cNvPr>
          <p:cNvSpPr/>
          <p:nvPr/>
        </p:nvSpPr>
        <p:spPr bwMode="gray">
          <a:xfrm>
            <a:off x="5584979" y="3848107"/>
            <a:ext cx="878728" cy="406754"/>
          </a:xfrm>
          <a:prstGeom prst="rect">
            <a:avLst/>
          </a:prstGeom>
          <a:solidFill>
            <a:srgbClr val="FFFFFF"/>
          </a:solidFill>
        </p:spPr>
        <p:txBody>
          <a:bodyPr wrap="square" lIns="0" tIns="0" rIns="0" bIns="0">
            <a:noAutofit/>
          </a:bodyPr>
          <a:lstStyle/>
          <a:p>
            <a:pPr lvl="0" algn="ctr">
              <a:lnSpc>
                <a:spcPct val="107000"/>
              </a:lnSpc>
              <a:spcBef>
                <a:spcPct val="0"/>
              </a:spcBef>
              <a:defRPr/>
            </a:pPr>
            <a:r>
              <a:rPr lang="en-US" sz="1400" b="1" kern="0">
                <a:solidFill>
                  <a:schemeClr val="tx2"/>
                </a:solidFill>
                <a:ea typeface="Arial Unicode MS" pitchFamily="34" charset="-128"/>
              </a:rPr>
              <a:t>That enables</a:t>
            </a:r>
          </a:p>
        </p:txBody>
      </p:sp>
      <p:cxnSp>
        <p:nvCxnSpPr>
          <p:cNvPr id="31" name="Connector: Elbow 30">
            <a:extLst>
              <a:ext uri="{FF2B5EF4-FFF2-40B4-BE49-F238E27FC236}">
                <a16:creationId xmlns:a16="http://schemas.microsoft.com/office/drawing/2014/main" id="{11FF04D3-1C3D-4E77-9F92-6BF4A175CD9D}"/>
              </a:ext>
            </a:extLst>
          </p:cNvPr>
          <p:cNvCxnSpPr>
            <a:cxnSpLocks/>
          </p:cNvCxnSpPr>
          <p:nvPr/>
        </p:nvCxnSpPr>
        <p:spPr>
          <a:xfrm>
            <a:off x="8266922" y="4174100"/>
            <a:ext cx="1005281" cy="986320"/>
          </a:xfrm>
          <a:prstGeom prst="bentConnector3">
            <a:avLst>
              <a:gd name="adj1" fmla="val 50000"/>
            </a:avLst>
          </a:prstGeom>
          <a:noFill/>
          <a:ln w="12700" cap="flat" cmpd="sng">
            <a:solidFill>
              <a:srgbClr val="6F7878"/>
            </a:solidFill>
            <a:prstDash val="solid"/>
            <a:round/>
            <a:headEnd type="oval" w="sm" len="med"/>
            <a:tailEnd type="triangle" w="lg" len="lg"/>
          </a:ln>
        </p:spPr>
      </p:cxnSp>
      <p:sp>
        <p:nvSpPr>
          <p:cNvPr id="32" name="Rectangle 31">
            <a:extLst>
              <a:ext uri="{FF2B5EF4-FFF2-40B4-BE49-F238E27FC236}">
                <a16:creationId xmlns:a16="http://schemas.microsoft.com/office/drawing/2014/main" id="{76703204-E171-4F52-B303-3A6B363F820E}"/>
              </a:ext>
            </a:extLst>
          </p:cNvPr>
          <p:cNvSpPr/>
          <p:nvPr/>
        </p:nvSpPr>
        <p:spPr bwMode="gray">
          <a:xfrm>
            <a:off x="8266922" y="4417324"/>
            <a:ext cx="1021106" cy="500499"/>
          </a:xfrm>
          <a:prstGeom prst="rect">
            <a:avLst/>
          </a:prstGeom>
          <a:solidFill>
            <a:srgbClr val="FFFFFF"/>
          </a:solidFill>
        </p:spPr>
        <p:txBody>
          <a:bodyPr wrap="square" lIns="0" tIns="0" rIns="0" bIns="0">
            <a:noAutofit/>
          </a:bodyPr>
          <a:lstStyle/>
          <a:p>
            <a:pPr lvl="0" algn="ctr">
              <a:lnSpc>
                <a:spcPct val="107000"/>
              </a:lnSpc>
              <a:spcBef>
                <a:spcPct val="0"/>
              </a:spcBef>
              <a:defRPr/>
            </a:pPr>
            <a:r>
              <a:rPr lang="en-US" sz="1400" b="1" kern="0">
                <a:solidFill>
                  <a:schemeClr val="tx2"/>
                </a:solidFill>
                <a:ea typeface="Arial Unicode MS" pitchFamily="34" charset="-128"/>
              </a:rPr>
              <a:t>Supported by</a:t>
            </a:r>
          </a:p>
        </p:txBody>
      </p:sp>
    </p:spTree>
    <p:extLst>
      <p:ext uri="{BB962C8B-B14F-4D97-AF65-F5344CB8AC3E}">
        <p14:creationId xmlns:p14="http://schemas.microsoft.com/office/powerpoint/2010/main" val="1270097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D5B69C1F-A213-48A6-8E88-CB34F91455DD}"/>
              </a:ext>
            </a:extLst>
          </p:cNvPr>
          <p:cNvSpPr/>
          <p:nvPr/>
        </p:nvSpPr>
        <p:spPr bwMode="auto">
          <a:xfrm rot="5400000">
            <a:off x="3381586" y="1504945"/>
            <a:ext cx="210312" cy="192024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39" name="Rectangle 38">
            <a:extLst>
              <a:ext uri="{FF2B5EF4-FFF2-40B4-BE49-F238E27FC236}">
                <a16:creationId xmlns:a16="http://schemas.microsoft.com/office/drawing/2014/main" id="{7CFC33E6-0B9C-46DA-AF50-B48FD06A88E3}"/>
              </a:ext>
            </a:extLst>
          </p:cNvPr>
          <p:cNvSpPr/>
          <p:nvPr/>
        </p:nvSpPr>
        <p:spPr bwMode="auto">
          <a:xfrm rot="5400000">
            <a:off x="3244426" y="4894217"/>
            <a:ext cx="210312" cy="164592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4E748086-B99F-4E13-ACB4-54367224CEA6}"/>
              </a:ext>
            </a:extLst>
          </p:cNvPr>
          <p:cNvSpPr>
            <a:spLocks noGrp="1"/>
          </p:cNvSpPr>
          <p:nvPr>
            <p:ph type="title"/>
          </p:nvPr>
        </p:nvSpPr>
        <p:spPr/>
        <p:txBody>
          <a:bodyPr/>
          <a:lstStyle/>
          <a:p>
            <a:r>
              <a:rPr lang="en-US"/>
              <a:t>CTS Strategy Roadmap</a:t>
            </a:r>
          </a:p>
        </p:txBody>
      </p:sp>
      <p:sp>
        <p:nvSpPr>
          <p:cNvPr id="3" name="Rectangle 2">
            <a:extLst>
              <a:ext uri="{FF2B5EF4-FFF2-40B4-BE49-F238E27FC236}">
                <a16:creationId xmlns:a16="http://schemas.microsoft.com/office/drawing/2014/main" id="{A0C21282-4A5F-483B-85C7-111069521385}"/>
              </a:ext>
            </a:extLst>
          </p:cNvPr>
          <p:cNvSpPr/>
          <p:nvPr/>
        </p:nvSpPr>
        <p:spPr>
          <a:xfrm>
            <a:off x="457199" y="667611"/>
            <a:ext cx="11444986" cy="338554"/>
          </a:xfrm>
          <a:prstGeom prst="rect">
            <a:avLst/>
          </a:prstGeom>
        </p:spPr>
        <p:txBody>
          <a:bodyPr wrap="square" lIns="0" rIns="0">
            <a:spAutoFit/>
          </a:bodyPr>
          <a:lstStyle/>
          <a:p>
            <a:r>
              <a:rPr lang="en-US" sz="1600" b="1" i="1">
                <a:solidFill>
                  <a:srgbClr val="6F7878"/>
                </a:solidFill>
              </a:rPr>
              <a:t>Implementing the CTS Strategy will require ten primary activities to achieve the target state.</a:t>
            </a:r>
            <a:endParaRPr lang="en-US" sz="1600"/>
          </a:p>
        </p:txBody>
      </p:sp>
      <p:sp>
        <p:nvSpPr>
          <p:cNvPr id="7" name="Rectangle 6">
            <a:extLst>
              <a:ext uri="{FF2B5EF4-FFF2-40B4-BE49-F238E27FC236}">
                <a16:creationId xmlns:a16="http://schemas.microsoft.com/office/drawing/2014/main" id="{C0592F0B-1473-45ED-93F3-C28489BFE3BF}"/>
              </a:ext>
            </a:extLst>
          </p:cNvPr>
          <p:cNvSpPr/>
          <p:nvPr/>
        </p:nvSpPr>
        <p:spPr bwMode="auto">
          <a:xfrm rot="5400000">
            <a:off x="4021666" y="-50808"/>
            <a:ext cx="210312" cy="320040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cxnSp>
        <p:nvCxnSpPr>
          <p:cNvPr id="8" name="Straight Connector 7">
            <a:extLst>
              <a:ext uri="{FF2B5EF4-FFF2-40B4-BE49-F238E27FC236}">
                <a16:creationId xmlns:a16="http://schemas.microsoft.com/office/drawing/2014/main" id="{49D124E5-5D96-4F42-B618-4C5FD7FFFB77}"/>
              </a:ext>
            </a:extLst>
          </p:cNvPr>
          <p:cNvCxnSpPr>
            <a:cxnSpLocks/>
          </p:cNvCxnSpPr>
          <p:nvPr/>
        </p:nvCxnSpPr>
        <p:spPr bwMode="auto">
          <a:xfrm flipH="1">
            <a:off x="2661305" y="1551142"/>
            <a:ext cx="3108960" cy="0"/>
          </a:xfrm>
          <a:prstGeom prst="line">
            <a:avLst/>
          </a:prstGeom>
          <a:solidFill>
            <a:srgbClr val="00529B"/>
          </a:solidFill>
          <a:ln w="28575" cap="flat" cmpd="sng" algn="ctr">
            <a:solidFill>
              <a:srgbClr val="FFFFFF"/>
            </a:solidFill>
            <a:prstDash val="dash"/>
            <a:round/>
            <a:headEnd type="none" w="med" len="med"/>
            <a:tailEnd type="none" w="lg" len="lg"/>
          </a:ln>
          <a:effectLst/>
        </p:spPr>
      </p:cxnSp>
      <p:sp>
        <p:nvSpPr>
          <p:cNvPr id="9" name="TextBox 8">
            <a:extLst>
              <a:ext uri="{FF2B5EF4-FFF2-40B4-BE49-F238E27FC236}">
                <a16:creationId xmlns:a16="http://schemas.microsoft.com/office/drawing/2014/main" id="{6F4EAAE8-4563-473A-8D84-379E92508CE6}"/>
              </a:ext>
            </a:extLst>
          </p:cNvPr>
          <p:cNvSpPr txBox="1"/>
          <p:nvPr/>
        </p:nvSpPr>
        <p:spPr>
          <a:xfrm>
            <a:off x="2702735" y="1322615"/>
            <a:ext cx="1747965"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Establish Organizational Change Management Practices</a:t>
            </a:r>
          </a:p>
        </p:txBody>
      </p:sp>
      <p:sp>
        <p:nvSpPr>
          <p:cNvPr id="67" name="Freeform: Shape 66">
            <a:extLst>
              <a:ext uri="{FF2B5EF4-FFF2-40B4-BE49-F238E27FC236}">
                <a16:creationId xmlns:a16="http://schemas.microsoft.com/office/drawing/2014/main" id="{0DC9F037-7943-49F2-8B91-91E390C7A537}"/>
              </a:ext>
            </a:extLst>
          </p:cNvPr>
          <p:cNvSpPr/>
          <p:nvPr/>
        </p:nvSpPr>
        <p:spPr bwMode="ltGray">
          <a:xfrm flipH="1">
            <a:off x="10144339" y="3154012"/>
            <a:ext cx="1861244" cy="1269030"/>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FF540A"/>
          </a:solidFill>
          <a:ln w="9525" cap="flat">
            <a:noFill/>
            <a:prstDash val="solid"/>
            <a:miter/>
          </a:ln>
        </p:spPr>
        <p:txBody>
          <a:bodyPr rtlCol="0" anchor="ctr"/>
          <a:lstStyle/>
          <a:p>
            <a:endParaRPr lang="en-US"/>
          </a:p>
        </p:txBody>
      </p:sp>
      <p:sp>
        <p:nvSpPr>
          <p:cNvPr id="68" name="Rectangle 67">
            <a:extLst>
              <a:ext uri="{FF2B5EF4-FFF2-40B4-BE49-F238E27FC236}">
                <a16:creationId xmlns:a16="http://schemas.microsoft.com/office/drawing/2014/main" id="{41D07EBC-056A-46FE-A7AD-757B2C741867}"/>
              </a:ext>
            </a:extLst>
          </p:cNvPr>
          <p:cNvSpPr/>
          <p:nvPr/>
        </p:nvSpPr>
        <p:spPr bwMode="auto">
          <a:xfrm rot="5400000">
            <a:off x="8568685" y="2380292"/>
            <a:ext cx="207845" cy="283464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sp>
        <p:nvSpPr>
          <p:cNvPr id="75" name="Rectangle 74">
            <a:extLst>
              <a:ext uri="{FF2B5EF4-FFF2-40B4-BE49-F238E27FC236}">
                <a16:creationId xmlns:a16="http://schemas.microsoft.com/office/drawing/2014/main" id="{211AE210-DF06-4B44-BEF7-7B2AE4F990B9}"/>
              </a:ext>
            </a:extLst>
          </p:cNvPr>
          <p:cNvSpPr/>
          <p:nvPr/>
        </p:nvSpPr>
        <p:spPr bwMode="gray">
          <a:xfrm>
            <a:off x="10786383" y="4467554"/>
            <a:ext cx="1219200" cy="215444"/>
          </a:xfrm>
          <a:prstGeom prst="rect">
            <a:avLst/>
          </a:prstGeom>
        </p:spPr>
        <p:txBody>
          <a:bodyPr wrap="square" lIns="0" tIns="0" rIns="0" bIns="0">
            <a:spAutoFit/>
          </a:bodyPr>
          <a:lstStyle/>
          <a:p>
            <a:pPr lvl="0" algn="ctr"/>
            <a:r>
              <a:rPr lang="en-US" sz="1400">
                <a:solidFill>
                  <a:srgbClr val="FF540A"/>
                </a:solidFill>
                <a:latin typeface="+mj-lt"/>
              </a:rPr>
              <a:t>CTS Hub</a:t>
            </a:r>
            <a:endParaRPr lang="en-GB" sz="1400">
              <a:solidFill>
                <a:srgbClr val="FF540A"/>
              </a:solidFill>
              <a:latin typeface="+mj-lt"/>
            </a:endParaRPr>
          </a:p>
        </p:txBody>
      </p:sp>
      <p:sp>
        <p:nvSpPr>
          <p:cNvPr id="120" name="Freeform: Shape 119">
            <a:extLst>
              <a:ext uri="{FF2B5EF4-FFF2-40B4-BE49-F238E27FC236}">
                <a16:creationId xmlns:a16="http://schemas.microsoft.com/office/drawing/2014/main" id="{16596CF4-106E-4D20-9AE4-47762446EC0B}"/>
              </a:ext>
            </a:extLst>
          </p:cNvPr>
          <p:cNvSpPr/>
          <p:nvPr/>
        </p:nvSpPr>
        <p:spPr bwMode="auto">
          <a:xfrm rot="13335915">
            <a:off x="4293238" y="2492569"/>
            <a:ext cx="54537" cy="44215"/>
          </a:xfrm>
          <a:custGeom>
            <a:avLst/>
            <a:gdLst>
              <a:gd name="connsiteX0" fmla="*/ 54537 w 54537"/>
              <a:gd name="connsiteY0" fmla="*/ 44215 h 44215"/>
              <a:gd name="connsiteX1" fmla="*/ 10152 w 54537"/>
              <a:gd name="connsiteY1" fmla="*/ 10076 h 44215"/>
              <a:gd name="connsiteX2" fmla="*/ 0 w 54537"/>
              <a:gd name="connsiteY2" fmla="*/ 0 h 44215"/>
              <a:gd name="connsiteX3" fmla="*/ 16036 w 54537"/>
              <a:gd name="connsiteY3" fmla="*/ 10599 h 44215"/>
              <a:gd name="connsiteX4" fmla="*/ 54537 w 54537"/>
              <a:gd name="connsiteY4" fmla="*/ 44215 h 4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7" h="44215">
                <a:moveTo>
                  <a:pt x="54537" y="44215"/>
                </a:moveTo>
                <a:lnTo>
                  <a:pt x="10152" y="10076"/>
                </a:lnTo>
                <a:lnTo>
                  <a:pt x="0" y="0"/>
                </a:lnTo>
                <a:lnTo>
                  <a:pt x="16036" y="10599"/>
                </a:lnTo>
                <a:lnTo>
                  <a:pt x="54537" y="44215"/>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19" name="Freeform: Shape 118">
            <a:extLst>
              <a:ext uri="{FF2B5EF4-FFF2-40B4-BE49-F238E27FC236}">
                <a16:creationId xmlns:a16="http://schemas.microsoft.com/office/drawing/2014/main" id="{620D7589-140C-4940-8C03-D8BD5B939803}"/>
              </a:ext>
            </a:extLst>
          </p:cNvPr>
          <p:cNvSpPr/>
          <p:nvPr/>
        </p:nvSpPr>
        <p:spPr bwMode="auto">
          <a:xfrm rot="13335915">
            <a:off x="4093717" y="2521209"/>
            <a:ext cx="54082" cy="44774"/>
          </a:xfrm>
          <a:custGeom>
            <a:avLst/>
            <a:gdLst>
              <a:gd name="connsiteX0" fmla="*/ 54082 w 54082"/>
              <a:gd name="connsiteY0" fmla="*/ 44774 h 44774"/>
              <a:gd name="connsiteX1" fmla="*/ 13738 w 54082"/>
              <a:gd name="connsiteY1" fmla="*/ 13647 h 44774"/>
              <a:gd name="connsiteX2" fmla="*/ 0 w 54082"/>
              <a:gd name="connsiteY2" fmla="*/ 0 h 44774"/>
              <a:gd name="connsiteX3" fmla="*/ 13237 w 54082"/>
              <a:gd name="connsiteY3" fmla="*/ 8827 h 44774"/>
              <a:gd name="connsiteX4" fmla="*/ 54082 w 54082"/>
              <a:gd name="connsiteY4" fmla="*/ 44774 h 4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82" h="44774">
                <a:moveTo>
                  <a:pt x="54082" y="44774"/>
                </a:moveTo>
                <a:lnTo>
                  <a:pt x="13738" y="13647"/>
                </a:lnTo>
                <a:lnTo>
                  <a:pt x="0" y="0"/>
                </a:lnTo>
                <a:lnTo>
                  <a:pt x="13237" y="8827"/>
                </a:lnTo>
                <a:lnTo>
                  <a:pt x="54082" y="44774"/>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27" name="Freeform: Shape 126">
            <a:extLst>
              <a:ext uri="{FF2B5EF4-FFF2-40B4-BE49-F238E27FC236}">
                <a16:creationId xmlns:a16="http://schemas.microsoft.com/office/drawing/2014/main" id="{9AE32E4E-1F1E-48F6-9937-E036CEC0C107}"/>
              </a:ext>
            </a:extLst>
          </p:cNvPr>
          <p:cNvSpPr/>
          <p:nvPr/>
        </p:nvSpPr>
        <p:spPr bwMode="auto">
          <a:xfrm rot="8704241">
            <a:off x="3925961" y="1950249"/>
            <a:ext cx="6373" cy="107402"/>
          </a:xfrm>
          <a:custGeom>
            <a:avLst/>
            <a:gdLst>
              <a:gd name="connsiteX0" fmla="*/ 6373 w 6373"/>
              <a:gd name="connsiteY0" fmla="*/ 107402 h 107402"/>
              <a:gd name="connsiteX1" fmla="*/ 0 w 6373"/>
              <a:gd name="connsiteY1" fmla="*/ 32535 h 107402"/>
              <a:gd name="connsiteX2" fmla="*/ 1581 w 6373"/>
              <a:gd name="connsiteY2" fmla="*/ 0 h 107402"/>
              <a:gd name="connsiteX3" fmla="*/ 6373 w 6373"/>
              <a:gd name="connsiteY3" fmla="*/ 107402 h 107402"/>
            </a:gdLst>
            <a:ahLst/>
            <a:cxnLst>
              <a:cxn ang="0">
                <a:pos x="connsiteX0" y="connsiteY0"/>
              </a:cxn>
              <a:cxn ang="0">
                <a:pos x="connsiteX1" y="connsiteY1"/>
              </a:cxn>
              <a:cxn ang="0">
                <a:pos x="connsiteX2" y="connsiteY2"/>
              </a:cxn>
              <a:cxn ang="0">
                <a:pos x="connsiteX3" y="connsiteY3"/>
              </a:cxn>
            </a:cxnLst>
            <a:rect l="l" t="t" r="r" b="b"/>
            <a:pathLst>
              <a:path w="6373" h="107402">
                <a:moveTo>
                  <a:pt x="6373" y="107402"/>
                </a:moveTo>
                <a:lnTo>
                  <a:pt x="0" y="32535"/>
                </a:lnTo>
                <a:lnTo>
                  <a:pt x="1581" y="0"/>
                </a:lnTo>
                <a:lnTo>
                  <a:pt x="6373" y="107402"/>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324" name="Freeform: Shape 323">
            <a:extLst>
              <a:ext uri="{FF2B5EF4-FFF2-40B4-BE49-F238E27FC236}">
                <a16:creationId xmlns:a16="http://schemas.microsoft.com/office/drawing/2014/main" id="{951C2D32-AB4D-4C1B-81D3-000ADFAC2747}"/>
              </a:ext>
            </a:extLst>
          </p:cNvPr>
          <p:cNvSpPr/>
          <p:nvPr/>
        </p:nvSpPr>
        <p:spPr bwMode="auto">
          <a:xfrm rot="12318537">
            <a:off x="7169266" y="3205116"/>
            <a:ext cx="6400" cy="1258"/>
          </a:xfrm>
          <a:custGeom>
            <a:avLst/>
            <a:gdLst>
              <a:gd name="connsiteX0" fmla="*/ 6400 w 6400"/>
              <a:gd name="connsiteY0" fmla="*/ 0 h 1258"/>
              <a:gd name="connsiteX1" fmla="*/ 0 w 6400"/>
              <a:gd name="connsiteY1" fmla="*/ 1258 h 1258"/>
              <a:gd name="connsiteX2" fmla="*/ 0 w 6400"/>
              <a:gd name="connsiteY2" fmla="*/ 1258 h 1258"/>
              <a:gd name="connsiteX3" fmla="*/ 6400 w 6400"/>
              <a:gd name="connsiteY3" fmla="*/ 0 h 1258"/>
            </a:gdLst>
            <a:ahLst/>
            <a:cxnLst>
              <a:cxn ang="0">
                <a:pos x="connsiteX0" y="connsiteY0"/>
              </a:cxn>
              <a:cxn ang="0">
                <a:pos x="connsiteX1" y="connsiteY1"/>
              </a:cxn>
              <a:cxn ang="0">
                <a:pos x="connsiteX2" y="connsiteY2"/>
              </a:cxn>
              <a:cxn ang="0">
                <a:pos x="connsiteX3" y="connsiteY3"/>
              </a:cxn>
            </a:cxnLst>
            <a:rect l="l" t="t" r="r" b="b"/>
            <a:pathLst>
              <a:path w="6400" h="1258">
                <a:moveTo>
                  <a:pt x="6400" y="0"/>
                </a:moveTo>
                <a:lnTo>
                  <a:pt x="0" y="1258"/>
                </a:lnTo>
                <a:lnTo>
                  <a:pt x="0" y="1258"/>
                </a:lnTo>
                <a:lnTo>
                  <a:pt x="6400" y="0"/>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402" name="Block Arc 401">
            <a:extLst>
              <a:ext uri="{FF2B5EF4-FFF2-40B4-BE49-F238E27FC236}">
                <a16:creationId xmlns:a16="http://schemas.microsoft.com/office/drawing/2014/main" id="{6245FC30-3AE9-43C3-9BE9-60330A054DCB}"/>
              </a:ext>
            </a:extLst>
          </p:cNvPr>
          <p:cNvSpPr/>
          <p:nvPr/>
        </p:nvSpPr>
        <p:spPr bwMode="auto">
          <a:xfrm rot="9394531">
            <a:off x="3994297" y="4650548"/>
            <a:ext cx="4570994" cy="1007754"/>
          </a:xfrm>
          <a:custGeom>
            <a:avLst/>
            <a:gdLst>
              <a:gd name="connsiteX0" fmla="*/ 84028 w 2184566"/>
              <a:gd name="connsiteY0" fmla="*/ 1481678 h 2140180"/>
              <a:gd name="connsiteX1" fmla="*/ 327043 w 2184566"/>
              <a:gd name="connsiteY1" fmla="*/ 306509 h 2140180"/>
              <a:gd name="connsiteX2" fmla="*/ 1495710 w 2184566"/>
              <a:gd name="connsiteY2" fmla="*/ 75662 h 2140180"/>
              <a:gd name="connsiteX3" fmla="*/ 1418940 w 2184566"/>
              <a:gd name="connsiteY3" fmla="*/ 264897 h 2140180"/>
              <a:gd name="connsiteX4" fmla="*/ 471615 w 2184566"/>
              <a:gd name="connsiteY4" fmla="*/ 450769 h 2140180"/>
              <a:gd name="connsiteX5" fmla="*/ 273096 w 2184566"/>
              <a:gd name="connsiteY5" fmla="*/ 1404498 h 2140180"/>
              <a:gd name="connsiteX6" fmla="*/ 84028 w 2184566"/>
              <a:gd name="connsiteY6" fmla="*/ 1481678 h 2140180"/>
              <a:gd name="connsiteX0" fmla="*/ 1841469 w 3253151"/>
              <a:gd name="connsiteY0" fmla="*/ 2211767 h 2211767"/>
              <a:gd name="connsiteX1" fmla="*/ 35026 w 3253151"/>
              <a:gd name="connsiteY1" fmla="*/ 60378 h 2211767"/>
              <a:gd name="connsiteX2" fmla="*/ 3253151 w 3253151"/>
              <a:gd name="connsiteY2" fmla="*/ 805751 h 2211767"/>
              <a:gd name="connsiteX3" fmla="*/ 3176381 w 3253151"/>
              <a:gd name="connsiteY3" fmla="*/ 994986 h 2211767"/>
              <a:gd name="connsiteX4" fmla="*/ 2229056 w 3253151"/>
              <a:gd name="connsiteY4" fmla="*/ 1180858 h 2211767"/>
              <a:gd name="connsiteX5" fmla="*/ 2030537 w 3253151"/>
              <a:gd name="connsiteY5" fmla="*/ 2134587 h 2211767"/>
              <a:gd name="connsiteX6" fmla="*/ 1841469 w 3253151"/>
              <a:gd name="connsiteY6" fmla="*/ 2211767 h 2211767"/>
              <a:gd name="connsiteX0" fmla="*/ 24431 w 4595425"/>
              <a:gd name="connsiteY0" fmla="*/ 884177 h 2074843"/>
              <a:gd name="connsiteX1" fmla="*/ 1377300 w 4595425"/>
              <a:gd name="connsiteY1" fmla="*/ 634 h 2074843"/>
              <a:gd name="connsiteX2" fmla="*/ 4595425 w 4595425"/>
              <a:gd name="connsiteY2" fmla="*/ 746007 h 2074843"/>
              <a:gd name="connsiteX3" fmla="*/ 4518655 w 4595425"/>
              <a:gd name="connsiteY3" fmla="*/ 935242 h 2074843"/>
              <a:gd name="connsiteX4" fmla="*/ 3571330 w 4595425"/>
              <a:gd name="connsiteY4" fmla="*/ 1121114 h 2074843"/>
              <a:gd name="connsiteX5" fmla="*/ 3372811 w 4595425"/>
              <a:gd name="connsiteY5" fmla="*/ 2074843 h 2074843"/>
              <a:gd name="connsiteX6" fmla="*/ 24431 w 4595425"/>
              <a:gd name="connsiteY6" fmla="*/ 884177 h 2074843"/>
              <a:gd name="connsiteX0" fmla="*/ 24431 w 4595425"/>
              <a:gd name="connsiteY0" fmla="*/ 884177 h 1183410"/>
              <a:gd name="connsiteX1" fmla="*/ 1377300 w 4595425"/>
              <a:gd name="connsiteY1" fmla="*/ 634 h 1183410"/>
              <a:gd name="connsiteX2" fmla="*/ 4595425 w 4595425"/>
              <a:gd name="connsiteY2" fmla="*/ 746007 h 1183410"/>
              <a:gd name="connsiteX3" fmla="*/ 4518655 w 4595425"/>
              <a:gd name="connsiteY3" fmla="*/ 935242 h 1183410"/>
              <a:gd name="connsiteX4" fmla="*/ 3571330 w 4595425"/>
              <a:gd name="connsiteY4" fmla="*/ 1121114 h 1183410"/>
              <a:gd name="connsiteX5" fmla="*/ 426635 w 4595425"/>
              <a:gd name="connsiteY5" fmla="*/ 1101168 h 1183410"/>
              <a:gd name="connsiteX6" fmla="*/ 24431 w 4595425"/>
              <a:gd name="connsiteY6" fmla="*/ 884177 h 1183410"/>
              <a:gd name="connsiteX0" fmla="*/ 24431 w 4595425"/>
              <a:gd name="connsiteY0" fmla="*/ 884177 h 1101168"/>
              <a:gd name="connsiteX1" fmla="*/ 1377300 w 4595425"/>
              <a:gd name="connsiteY1" fmla="*/ 634 h 1101168"/>
              <a:gd name="connsiteX2" fmla="*/ 4595425 w 4595425"/>
              <a:gd name="connsiteY2" fmla="*/ 746007 h 1101168"/>
              <a:gd name="connsiteX3" fmla="*/ 4518655 w 4595425"/>
              <a:gd name="connsiteY3" fmla="*/ 935242 h 1101168"/>
              <a:gd name="connsiteX4" fmla="*/ 1312669 w 4595425"/>
              <a:gd name="connsiteY4" fmla="*/ 394843 h 1101168"/>
              <a:gd name="connsiteX5" fmla="*/ 426635 w 4595425"/>
              <a:gd name="connsiteY5" fmla="*/ 1101168 h 1101168"/>
              <a:gd name="connsiteX6" fmla="*/ 24431 w 4595425"/>
              <a:gd name="connsiteY6" fmla="*/ 884177 h 1101168"/>
              <a:gd name="connsiteX0" fmla="*/ 23343 w 4594337"/>
              <a:gd name="connsiteY0" fmla="*/ 1130043 h 1347034"/>
              <a:gd name="connsiteX1" fmla="*/ 1419738 w 4594337"/>
              <a:gd name="connsiteY1" fmla="*/ 455 h 1347034"/>
              <a:gd name="connsiteX2" fmla="*/ 4594337 w 4594337"/>
              <a:gd name="connsiteY2" fmla="*/ 991873 h 1347034"/>
              <a:gd name="connsiteX3" fmla="*/ 4517567 w 4594337"/>
              <a:gd name="connsiteY3" fmla="*/ 1181108 h 1347034"/>
              <a:gd name="connsiteX4" fmla="*/ 1311581 w 4594337"/>
              <a:gd name="connsiteY4" fmla="*/ 640709 h 1347034"/>
              <a:gd name="connsiteX5" fmla="*/ 425547 w 4594337"/>
              <a:gd name="connsiteY5" fmla="*/ 1347034 h 1347034"/>
              <a:gd name="connsiteX6" fmla="*/ 23343 w 4594337"/>
              <a:gd name="connsiteY6" fmla="*/ 1130043 h 1347034"/>
              <a:gd name="connsiteX0" fmla="*/ 25086 w 4596080"/>
              <a:gd name="connsiteY0" fmla="*/ 1143443 h 1360434"/>
              <a:gd name="connsiteX1" fmla="*/ 1421481 w 4596080"/>
              <a:gd name="connsiteY1" fmla="*/ 13855 h 1360434"/>
              <a:gd name="connsiteX2" fmla="*/ 4596080 w 4596080"/>
              <a:gd name="connsiteY2" fmla="*/ 1005273 h 1360434"/>
              <a:gd name="connsiteX3" fmla="*/ 4519310 w 4596080"/>
              <a:gd name="connsiteY3" fmla="*/ 1194508 h 1360434"/>
              <a:gd name="connsiteX4" fmla="*/ 1313324 w 4596080"/>
              <a:gd name="connsiteY4" fmla="*/ 654109 h 1360434"/>
              <a:gd name="connsiteX5" fmla="*/ 427290 w 4596080"/>
              <a:gd name="connsiteY5" fmla="*/ 1360434 h 1360434"/>
              <a:gd name="connsiteX6" fmla="*/ 25086 w 4596080"/>
              <a:gd name="connsiteY6" fmla="*/ 1143443 h 1360434"/>
              <a:gd name="connsiteX0" fmla="*/ 22411 w 4593405"/>
              <a:gd name="connsiteY0" fmla="*/ 960477 h 1177468"/>
              <a:gd name="connsiteX1" fmla="*/ 1527502 w 4593405"/>
              <a:gd name="connsiteY1" fmla="*/ 16737 h 1177468"/>
              <a:gd name="connsiteX2" fmla="*/ 4593405 w 4593405"/>
              <a:gd name="connsiteY2" fmla="*/ 822307 h 1177468"/>
              <a:gd name="connsiteX3" fmla="*/ 4516635 w 4593405"/>
              <a:gd name="connsiteY3" fmla="*/ 1011542 h 1177468"/>
              <a:gd name="connsiteX4" fmla="*/ 1310649 w 4593405"/>
              <a:gd name="connsiteY4" fmla="*/ 471143 h 1177468"/>
              <a:gd name="connsiteX5" fmla="*/ 424615 w 4593405"/>
              <a:gd name="connsiteY5" fmla="*/ 1177468 h 1177468"/>
              <a:gd name="connsiteX6" fmla="*/ 22411 w 4593405"/>
              <a:gd name="connsiteY6" fmla="*/ 960477 h 1177468"/>
              <a:gd name="connsiteX0" fmla="*/ 22411 w 4593405"/>
              <a:gd name="connsiteY0" fmla="*/ 973464 h 1190455"/>
              <a:gd name="connsiteX1" fmla="*/ 1527502 w 4593405"/>
              <a:gd name="connsiteY1" fmla="*/ 29724 h 1190455"/>
              <a:gd name="connsiteX2" fmla="*/ 4593405 w 4593405"/>
              <a:gd name="connsiteY2" fmla="*/ 835294 h 1190455"/>
              <a:gd name="connsiteX3" fmla="*/ 4516635 w 4593405"/>
              <a:gd name="connsiteY3" fmla="*/ 1024529 h 1190455"/>
              <a:gd name="connsiteX4" fmla="*/ 1310649 w 4593405"/>
              <a:gd name="connsiteY4" fmla="*/ 484130 h 1190455"/>
              <a:gd name="connsiteX5" fmla="*/ 424615 w 4593405"/>
              <a:gd name="connsiteY5" fmla="*/ 1190455 h 1190455"/>
              <a:gd name="connsiteX6" fmla="*/ 22411 w 4593405"/>
              <a:gd name="connsiteY6" fmla="*/ 973464 h 1190455"/>
              <a:gd name="connsiteX0" fmla="*/ 22713 w 4593707"/>
              <a:gd name="connsiteY0" fmla="*/ 946190 h 1163181"/>
              <a:gd name="connsiteX1" fmla="*/ 1527804 w 4593707"/>
              <a:gd name="connsiteY1" fmla="*/ 2450 h 1163181"/>
              <a:gd name="connsiteX2" fmla="*/ 4593707 w 4593707"/>
              <a:gd name="connsiteY2" fmla="*/ 808020 h 1163181"/>
              <a:gd name="connsiteX3" fmla="*/ 4516937 w 4593707"/>
              <a:gd name="connsiteY3" fmla="*/ 997255 h 1163181"/>
              <a:gd name="connsiteX4" fmla="*/ 1310951 w 4593707"/>
              <a:gd name="connsiteY4" fmla="*/ 456856 h 1163181"/>
              <a:gd name="connsiteX5" fmla="*/ 424917 w 4593707"/>
              <a:gd name="connsiteY5" fmla="*/ 1163181 h 1163181"/>
              <a:gd name="connsiteX6" fmla="*/ 22713 w 4593707"/>
              <a:gd name="connsiteY6" fmla="*/ 946190 h 1163181"/>
              <a:gd name="connsiteX0" fmla="*/ 22683 w 4593677"/>
              <a:gd name="connsiteY0" fmla="*/ 950653 h 1167644"/>
              <a:gd name="connsiteX1" fmla="*/ 1527774 w 4593677"/>
              <a:gd name="connsiteY1" fmla="*/ 6913 h 1167644"/>
              <a:gd name="connsiteX2" fmla="*/ 4593677 w 4593677"/>
              <a:gd name="connsiteY2" fmla="*/ 812483 h 1167644"/>
              <a:gd name="connsiteX3" fmla="*/ 4516907 w 4593677"/>
              <a:gd name="connsiteY3" fmla="*/ 1001718 h 1167644"/>
              <a:gd name="connsiteX4" fmla="*/ 1310921 w 4593677"/>
              <a:gd name="connsiteY4" fmla="*/ 461319 h 1167644"/>
              <a:gd name="connsiteX5" fmla="*/ 424887 w 4593677"/>
              <a:gd name="connsiteY5" fmla="*/ 1167644 h 1167644"/>
              <a:gd name="connsiteX6" fmla="*/ 22683 w 4593677"/>
              <a:gd name="connsiteY6" fmla="*/ 950653 h 1167644"/>
              <a:gd name="connsiteX0" fmla="*/ 22965 w 4593959"/>
              <a:gd name="connsiteY0" fmla="*/ 894242 h 1111233"/>
              <a:gd name="connsiteX1" fmla="*/ 1515671 w 4593959"/>
              <a:gd name="connsiteY1" fmla="*/ 8206 h 1111233"/>
              <a:gd name="connsiteX2" fmla="*/ 4593959 w 4593959"/>
              <a:gd name="connsiteY2" fmla="*/ 756072 h 1111233"/>
              <a:gd name="connsiteX3" fmla="*/ 4517189 w 4593959"/>
              <a:gd name="connsiteY3" fmla="*/ 945307 h 1111233"/>
              <a:gd name="connsiteX4" fmla="*/ 1311203 w 4593959"/>
              <a:gd name="connsiteY4" fmla="*/ 404908 h 1111233"/>
              <a:gd name="connsiteX5" fmla="*/ 425169 w 4593959"/>
              <a:gd name="connsiteY5" fmla="*/ 1111233 h 1111233"/>
              <a:gd name="connsiteX6" fmla="*/ 22965 w 4593959"/>
              <a:gd name="connsiteY6" fmla="*/ 894242 h 1111233"/>
              <a:gd name="connsiteX0" fmla="*/ 22965 w 4593959"/>
              <a:gd name="connsiteY0" fmla="*/ 894242 h 1111233"/>
              <a:gd name="connsiteX1" fmla="*/ 1515671 w 4593959"/>
              <a:gd name="connsiteY1" fmla="*/ 8206 h 1111233"/>
              <a:gd name="connsiteX2" fmla="*/ 4593959 w 4593959"/>
              <a:gd name="connsiteY2" fmla="*/ 756072 h 1111233"/>
              <a:gd name="connsiteX3" fmla="*/ 4517189 w 4593959"/>
              <a:gd name="connsiteY3" fmla="*/ 945307 h 1111233"/>
              <a:gd name="connsiteX4" fmla="*/ 1434746 w 4593959"/>
              <a:gd name="connsiteY4" fmla="*/ 294447 h 1111233"/>
              <a:gd name="connsiteX5" fmla="*/ 425169 w 4593959"/>
              <a:gd name="connsiteY5" fmla="*/ 1111233 h 1111233"/>
              <a:gd name="connsiteX6" fmla="*/ 22965 w 4593959"/>
              <a:gd name="connsiteY6" fmla="*/ 894242 h 1111233"/>
              <a:gd name="connsiteX0" fmla="*/ 22965 w 4593959"/>
              <a:gd name="connsiteY0" fmla="*/ 894242 h 1111233"/>
              <a:gd name="connsiteX1" fmla="*/ 1515671 w 4593959"/>
              <a:gd name="connsiteY1" fmla="*/ 8206 h 1111233"/>
              <a:gd name="connsiteX2" fmla="*/ 4593959 w 4593959"/>
              <a:gd name="connsiteY2" fmla="*/ 756072 h 1111233"/>
              <a:gd name="connsiteX3" fmla="*/ 4517189 w 4593959"/>
              <a:gd name="connsiteY3" fmla="*/ 945307 h 1111233"/>
              <a:gd name="connsiteX4" fmla="*/ 1434746 w 4593959"/>
              <a:gd name="connsiteY4" fmla="*/ 294447 h 1111233"/>
              <a:gd name="connsiteX5" fmla="*/ 425169 w 4593959"/>
              <a:gd name="connsiteY5" fmla="*/ 1111233 h 1111233"/>
              <a:gd name="connsiteX6" fmla="*/ 22965 w 4593959"/>
              <a:gd name="connsiteY6" fmla="*/ 894242 h 1111233"/>
              <a:gd name="connsiteX0" fmla="*/ 22965 w 4593959"/>
              <a:gd name="connsiteY0" fmla="*/ 894242 h 1111233"/>
              <a:gd name="connsiteX1" fmla="*/ 1515671 w 4593959"/>
              <a:gd name="connsiteY1" fmla="*/ 8206 h 1111233"/>
              <a:gd name="connsiteX2" fmla="*/ 4593959 w 4593959"/>
              <a:gd name="connsiteY2" fmla="*/ 756072 h 1111233"/>
              <a:gd name="connsiteX3" fmla="*/ 4517189 w 4593959"/>
              <a:gd name="connsiteY3" fmla="*/ 945307 h 1111233"/>
              <a:gd name="connsiteX4" fmla="*/ 1434746 w 4593959"/>
              <a:gd name="connsiteY4" fmla="*/ 294447 h 1111233"/>
              <a:gd name="connsiteX5" fmla="*/ 425169 w 4593959"/>
              <a:gd name="connsiteY5" fmla="*/ 1111233 h 1111233"/>
              <a:gd name="connsiteX6" fmla="*/ 22965 w 4593959"/>
              <a:gd name="connsiteY6" fmla="*/ 894242 h 1111233"/>
              <a:gd name="connsiteX0" fmla="*/ 22965 w 4593959"/>
              <a:gd name="connsiteY0" fmla="*/ 894242 h 1111233"/>
              <a:gd name="connsiteX1" fmla="*/ 1515671 w 4593959"/>
              <a:gd name="connsiteY1" fmla="*/ 8206 h 1111233"/>
              <a:gd name="connsiteX2" fmla="*/ 4593959 w 4593959"/>
              <a:gd name="connsiteY2" fmla="*/ 756072 h 1111233"/>
              <a:gd name="connsiteX3" fmla="*/ 4517189 w 4593959"/>
              <a:gd name="connsiteY3" fmla="*/ 945307 h 1111233"/>
              <a:gd name="connsiteX4" fmla="*/ 1434746 w 4593959"/>
              <a:gd name="connsiteY4" fmla="*/ 294447 h 1111233"/>
              <a:gd name="connsiteX5" fmla="*/ 425169 w 4593959"/>
              <a:gd name="connsiteY5" fmla="*/ 1111233 h 1111233"/>
              <a:gd name="connsiteX6" fmla="*/ 22965 w 4593959"/>
              <a:gd name="connsiteY6" fmla="*/ 894242 h 1111233"/>
              <a:gd name="connsiteX0" fmla="*/ 22965 w 4593959"/>
              <a:gd name="connsiteY0" fmla="*/ 894242 h 1000076"/>
              <a:gd name="connsiteX1" fmla="*/ 1515671 w 4593959"/>
              <a:gd name="connsiteY1" fmla="*/ 8206 h 1000076"/>
              <a:gd name="connsiteX2" fmla="*/ 4593959 w 4593959"/>
              <a:gd name="connsiteY2" fmla="*/ 756072 h 1000076"/>
              <a:gd name="connsiteX3" fmla="*/ 4517189 w 4593959"/>
              <a:gd name="connsiteY3" fmla="*/ 945307 h 1000076"/>
              <a:gd name="connsiteX4" fmla="*/ 1434746 w 4593959"/>
              <a:gd name="connsiteY4" fmla="*/ 294447 h 1000076"/>
              <a:gd name="connsiteX5" fmla="*/ 372414 w 4593959"/>
              <a:gd name="connsiteY5" fmla="*/ 1000076 h 1000076"/>
              <a:gd name="connsiteX6" fmla="*/ 22965 w 4593959"/>
              <a:gd name="connsiteY6" fmla="*/ 894242 h 1000076"/>
              <a:gd name="connsiteX0" fmla="*/ 22965 w 4593959"/>
              <a:gd name="connsiteY0" fmla="*/ 894242 h 1018134"/>
              <a:gd name="connsiteX1" fmla="*/ 1515671 w 4593959"/>
              <a:gd name="connsiteY1" fmla="*/ 8206 h 1018134"/>
              <a:gd name="connsiteX2" fmla="*/ 4593959 w 4593959"/>
              <a:gd name="connsiteY2" fmla="*/ 756072 h 1018134"/>
              <a:gd name="connsiteX3" fmla="*/ 4517189 w 4593959"/>
              <a:gd name="connsiteY3" fmla="*/ 945307 h 1018134"/>
              <a:gd name="connsiteX4" fmla="*/ 1434746 w 4593959"/>
              <a:gd name="connsiteY4" fmla="*/ 294447 h 1018134"/>
              <a:gd name="connsiteX5" fmla="*/ 326747 w 4593959"/>
              <a:gd name="connsiteY5" fmla="*/ 1018134 h 1018134"/>
              <a:gd name="connsiteX6" fmla="*/ 22965 w 4593959"/>
              <a:gd name="connsiteY6" fmla="*/ 894242 h 1018134"/>
              <a:gd name="connsiteX0" fmla="*/ 0 w 4570994"/>
              <a:gd name="connsiteY0" fmla="*/ 894242 h 1018134"/>
              <a:gd name="connsiteX1" fmla="*/ 1492706 w 4570994"/>
              <a:gd name="connsiteY1" fmla="*/ 8206 h 1018134"/>
              <a:gd name="connsiteX2" fmla="*/ 4570994 w 4570994"/>
              <a:gd name="connsiteY2" fmla="*/ 756072 h 1018134"/>
              <a:gd name="connsiteX3" fmla="*/ 4494224 w 4570994"/>
              <a:gd name="connsiteY3" fmla="*/ 945307 h 1018134"/>
              <a:gd name="connsiteX4" fmla="*/ 1411781 w 4570994"/>
              <a:gd name="connsiteY4" fmla="*/ 294447 h 1018134"/>
              <a:gd name="connsiteX5" fmla="*/ 303782 w 4570994"/>
              <a:gd name="connsiteY5" fmla="*/ 1018134 h 1018134"/>
              <a:gd name="connsiteX6" fmla="*/ 0 w 4570994"/>
              <a:gd name="connsiteY6" fmla="*/ 894242 h 1018134"/>
              <a:gd name="connsiteX0" fmla="*/ 0 w 4570994"/>
              <a:gd name="connsiteY0" fmla="*/ 886037 h 1009929"/>
              <a:gd name="connsiteX1" fmla="*/ 1492706 w 4570994"/>
              <a:gd name="connsiteY1" fmla="*/ 1 h 1009929"/>
              <a:gd name="connsiteX2" fmla="*/ 4570994 w 4570994"/>
              <a:gd name="connsiteY2" fmla="*/ 747867 h 1009929"/>
              <a:gd name="connsiteX3" fmla="*/ 4494224 w 4570994"/>
              <a:gd name="connsiteY3" fmla="*/ 937102 h 1009929"/>
              <a:gd name="connsiteX4" fmla="*/ 1411781 w 4570994"/>
              <a:gd name="connsiteY4" fmla="*/ 286242 h 1009929"/>
              <a:gd name="connsiteX5" fmla="*/ 303782 w 4570994"/>
              <a:gd name="connsiteY5" fmla="*/ 1009929 h 1009929"/>
              <a:gd name="connsiteX6" fmla="*/ 0 w 4570994"/>
              <a:gd name="connsiteY6" fmla="*/ 886037 h 1009929"/>
              <a:gd name="connsiteX0" fmla="*/ 0 w 4570994"/>
              <a:gd name="connsiteY0" fmla="*/ 888978 h 1012870"/>
              <a:gd name="connsiteX1" fmla="*/ 1492706 w 4570994"/>
              <a:gd name="connsiteY1" fmla="*/ 2942 h 1012870"/>
              <a:gd name="connsiteX2" fmla="*/ 4570994 w 4570994"/>
              <a:gd name="connsiteY2" fmla="*/ 750808 h 1012870"/>
              <a:gd name="connsiteX3" fmla="*/ 4494224 w 4570994"/>
              <a:gd name="connsiteY3" fmla="*/ 940043 h 1012870"/>
              <a:gd name="connsiteX4" fmla="*/ 1411781 w 4570994"/>
              <a:gd name="connsiteY4" fmla="*/ 289183 h 1012870"/>
              <a:gd name="connsiteX5" fmla="*/ 303782 w 4570994"/>
              <a:gd name="connsiteY5" fmla="*/ 1012870 h 1012870"/>
              <a:gd name="connsiteX6" fmla="*/ 0 w 4570994"/>
              <a:gd name="connsiteY6" fmla="*/ 888978 h 1012870"/>
              <a:gd name="connsiteX0" fmla="*/ 0 w 4570994"/>
              <a:gd name="connsiteY0" fmla="*/ 888978 h 1012870"/>
              <a:gd name="connsiteX1" fmla="*/ 1492706 w 4570994"/>
              <a:gd name="connsiteY1" fmla="*/ 2942 h 1012870"/>
              <a:gd name="connsiteX2" fmla="*/ 4570994 w 4570994"/>
              <a:gd name="connsiteY2" fmla="*/ 750808 h 1012870"/>
              <a:gd name="connsiteX3" fmla="*/ 4494224 w 4570994"/>
              <a:gd name="connsiteY3" fmla="*/ 940043 h 1012870"/>
              <a:gd name="connsiteX4" fmla="*/ 1644367 w 4570994"/>
              <a:gd name="connsiteY4" fmla="*/ 276421 h 1012870"/>
              <a:gd name="connsiteX5" fmla="*/ 303782 w 4570994"/>
              <a:gd name="connsiteY5" fmla="*/ 1012870 h 1012870"/>
              <a:gd name="connsiteX6" fmla="*/ 0 w 4570994"/>
              <a:gd name="connsiteY6" fmla="*/ 888978 h 1012870"/>
              <a:gd name="connsiteX0" fmla="*/ 0 w 4570994"/>
              <a:gd name="connsiteY0" fmla="*/ 888978 h 1012870"/>
              <a:gd name="connsiteX1" fmla="*/ 1492706 w 4570994"/>
              <a:gd name="connsiteY1" fmla="*/ 2942 h 1012870"/>
              <a:gd name="connsiteX2" fmla="*/ 4570994 w 4570994"/>
              <a:gd name="connsiteY2" fmla="*/ 750808 h 1012870"/>
              <a:gd name="connsiteX3" fmla="*/ 4494224 w 4570994"/>
              <a:gd name="connsiteY3" fmla="*/ 940043 h 1012870"/>
              <a:gd name="connsiteX4" fmla="*/ 1644367 w 4570994"/>
              <a:gd name="connsiteY4" fmla="*/ 276421 h 1012870"/>
              <a:gd name="connsiteX5" fmla="*/ 303782 w 4570994"/>
              <a:gd name="connsiteY5" fmla="*/ 1012870 h 1012870"/>
              <a:gd name="connsiteX6" fmla="*/ 0 w 4570994"/>
              <a:gd name="connsiteY6" fmla="*/ 888978 h 1012870"/>
              <a:gd name="connsiteX0" fmla="*/ 0 w 4570994"/>
              <a:gd name="connsiteY0" fmla="*/ 888978 h 1012870"/>
              <a:gd name="connsiteX1" fmla="*/ 1492706 w 4570994"/>
              <a:gd name="connsiteY1" fmla="*/ 2942 h 1012870"/>
              <a:gd name="connsiteX2" fmla="*/ 4570994 w 4570994"/>
              <a:gd name="connsiteY2" fmla="*/ 750808 h 1012870"/>
              <a:gd name="connsiteX3" fmla="*/ 4494224 w 4570994"/>
              <a:gd name="connsiteY3" fmla="*/ 940043 h 1012870"/>
              <a:gd name="connsiteX4" fmla="*/ 1644367 w 4570994"/>
              <a:gd name="connsiteY4" fmla="*/ 276421 h 1012870"/>
              <a:gd name="connsiteX5" fmla="*/ 303782 w 4570994"/>
              <a:gd name="connsiteY5" fmla="*/ 1012870 h 1012870"/>
              <a:gd name="connsiteX6" fmla="*/ 0 w 4570994"/>
              <a:gd name="connsiteY6" fmla="*/ 888978 h 1012870"/>
              <a:gd name="connsiteX0" fmla="*/ 0 w 4570994"/>
              <a:gd name="connsiteY0" fmla="*/ 888978 h 994464"/>
              <a:gd name="connsiteX1" fmla="*/ 1492706 w 4570994"/>
              <a:gd name="connsiteY1" fmla="*/ 2942 h 994464"/>
              <a:gd name="connsiteX2" fmla="*/ 4570994 w 4570994"/>
              <a:gd name="connsiteY2" fmla="*/ 750808 h 994464"/>
              <a:gd name="connsiteX3" fmla="*/ 4494224 w 4570994"/>
              <a:gd name="connsiteY3" fmla="*/ 940043 h 994464"/>
              <a:gd name="connsiteX4" fmla="*/ 1644367 w 4570994"/>
              <a:gd name="connsiteY4" fmla="*/ 276421 h 994464"/>
              <a:gd name="connsiteX5" fmla="*/ 261299 w 4570994"/>
              <a:gd name="connsiteY5" fmla="*/ 994464 h 994464"/>
              <a:gd name="connsiteX6" fmla="*/ 0 w 4570994"/>
              <a:gd name="connsiteY6" fmla="*/ 888978 h 994464"/>
              <a:gd name="connsiteX0" fmla="*/ 0 w 4570994"/>
              <a:gd name="connsiteY0" fmla="*/ 888978 h 994464"/>
              <a:gd name="connsiteX1" fmla="*/ 1492706 w 4570994"/>
              <a:gd name="connsiteY1" fmla="*/ 2942 h 994464"/>
              <a:gd name="connsiteX2" fmla="*/ 4570994 w 4570994"/>
              <a:gd name="connsiteY2" fmla="*/ 750808 h 994464"/>
              <a:gd name="connsiteX3" fmla="*/ 4494224 w 4570994"/>
              <a:gd name="connsiteY3" fmla="*/ 940043 h 994464"/>
              <a:gd name="connsiteX4" fmla="*/ 1644367 w 4570994"/>
              <a:gd name="connsiteY4" fmla="*/ 276421 h 994464"/>
              <a:gd name="connsiteX5" fmla="*/ 261299 w 4570994"/>
              <a:gd name="connsiteY5" fmla="*/ 994464 h 994464"/>
              <a:gd name="connsiteX6" fmla="*/ 0 w 4570994"/>
              <a:gd name="connsiteY6" fmla="*/ 888978 h 994464"/>
              <a:gd name="connsiteX0" fmla="*/ 0 w 4570994"/>
              <a:gd name="connsiteY0" fmla="*/ 887805 h 993291"/>
              <a:gd name="connsiteX1" fmla="*/ 1492706 w 4570994"/>
              <a:gd name="connsiteY1" fmla="*/ 1769 h 993291"/>
              <a:gd name="connsiteX2" fmla="*/ 4570994 w 4570994"/>
              <a:gd name="connsiteY2" fmla="*/ 749635 h 993291"/>
              <a:gd name="connsiteX3" fmla="*/ 4494224 w 4570994"/>
              <a:gd name="connsiteY3" fmla="*/ 938870 h 993291"/>
              <a:gd name="connsiteX4" fmla="*/ 1644367 w 4570994"/>
              <a:gd name="connsiteY4" fmla="*/ 275248 h 993291"/>
              <a:gd name="connsiteX5" fmla="*/ 261299 w 4570994"/>
              <a:gd name="connsiteY5" fmla="*/ 993291 h 993291"/>
              <a:gd name="connsiteX6" fmla="*/ 0 w 4570994"/>
              <a:gd name="connsiteY6" fmla="*/ 887805 h 993291"/>
              <a:gd name="connsiteX0" fmla="*/ 0 w 4570994"/>
              <a:gd name="connsiteY0" fmla="*/ 887805 h 993291"/>
              <a:gd name="connsiteX1" fmla="*/ 1492706 w 4570994"/>
              <a:gd name="connsiteY1" fmla="*/ 1769 h 993291"/>
              <a:gd name="connsiteX2" fmla="*/ 4570994 w 4570994"/>
              <a:gd name="connsiteY2" fmla="*/ 749635 h 993291"/>
              <a:gd name="connsiteX3" fmla="*/ 4494224 w 4570994"/>
              <a:gd name="connsiteY3" fmla="*/ 938870 h 993291"/>
              <a:gd name="connsiteX4" fmla="*/ 1644367 w 4570994"/>
              <a:gd name="connsiteY4" fmla="*/ 275248 h 993291"/>
              <a:gd name="connsiteX5" fmla="*/ 261299 w 4570994"/>
              <a:gd name="connsiteY5" fmla="*/ 993291 h 993291"/>
              <a:gd name="connsiteX6" fmla="*/ 0 w 4570994"/>
              <a:gd name="connsiteY6" fmla="*/ 887805 h 993291"/>
              <a:gd name="connsiteX0" fmla="*/ 0 w 4570994"/>
              <a:gd name="connsiteY0" fmla="*/ 887805 h 993291"/>
              <a:gd name="connsiteX1" fmla="*/ 1492706 w 4570994"/>
              <a:gd name="connsiteY1" fmla="*/ 1769 h 993291"/>
              <a:gd name="connsiteX2" fmla="*/ 4570994 w 4570994"/>
              <a:gd name="connsiteY2" fmla="*/ 749635 h 993291"/>
              <a:gd name="connsiteX3" fmla="*/ 4494224 w 4570994"/>
              <a:gd name="connsiteY3" fmla="*/ 938870 h 993291"/>
              <a:gd name="connsiteX4" fmla="*/ 1644367 w 4570994"/>
              <a:gd name="connsiteY4" fmla="*/ 275248 h 993291"/>
              <a:gd name="connsiteX5" fmla="*/ 261299 w 4570994"/>
              <a:gd name="connsiteY5" fmla="*/ 993291 h 993291"/>
              <a:gd name="connsiteX6" fmla="*/ 0 w 4570994"/>
              <a:gd name="connsiteY6" fmla="*/ 887805 h 993291"/>
              <a:gd name="connsiteX0" fmla="*/ 0 w 4570994"/>
              <a:gd name="connsiteY0" fmla="*/ 900821 h 1006307"/>
              <a:gd name="connsiteX1" fmla="*/ 1492706 w 4570994"/>
              <a:gd name="connsiteY1" fmla="*/ 14785 h 1006307"/>
              <a:gd name="connsiteX2" fmla="*/ 4570994 w 4570994"/>
              <a:gd name="connsiteY2" fmla="*/ 762651 h 1006307"/>
              <a:gd name="connsiteX3" fmla="*/ 4494224 w 4570994"/>
              <a:gd name="connsiteY3" fmla="*/ 951886 h 1006307"/>
              <a:gd name="connsiteX4" fmla="*/ 1644367 w 4570994"/>
              <a:gd name="connsiteY4" fmla="*/ 288264 h 1006307"/>
              <a:gd name="connsiteX5" fmla="*/ 261299 w 4570994"/>
              <a:gd name="connsiteY5" fmla="*/ 1006307 h 1006307"/>
              <a:gd name="connsiteX6" fmla="*/ 0 w 4570994"/>
              <a:gd name="connsiteY6" fmla="*/ 900821 h 1006307"/>
              <a:gd name="connsiteX0" fmla="*/ 0 w 4570994"/>
              <a:gd name="connsiteY0" fmla="*/ 865972 h 971458"/>
              <a:gd name="connsiteX1" fmla="*/ 1489521 w 4570994"/>
              <a:gd name="connsiteY1" fmla="*/ 16400 h 971458"/>
              <a:gd name="connsiteX2" fmla="*/ 4570994 w 4570994"/>
              <a:gd name="connsiteY2" fmla="*/ 727802 h 971458"/>
              <a:gd name="connsiteX3" fmla="*/ 4494224 w 4570994"/>
              <a:gd name="connsiteY3" fmla="*/ 917037 h 971458"/>
              <a:gd name="connsiteX4" fmla="*/ 1644367 w 4570994"/>
              <a:gd name="connsiteY4" fmla="*/ 253415 h 971458"/>
              <a:gd name="connsiteX5" fmla="*/ 261299 w 4570994"/>
              <a:gd name="connsiteY5" fmla="*/ 971458 h 971458"/>
              <a:gd name="connsiteX6" fmla="*/ 0 w 4570994"/>
              <a:gd name="connsiteY6" fmla="*/ 865972 h 971458"/>
              <a:gd name="connsiteX0" fmla="*/ 0 w 4570994"/>
              <a:gd name="connsiteY0" fmla="*/ 875720 h 981206"/>
              <a:gd name="connsiteX1" fmla="*/ 1489521 w 4570994"/>
              <a:gd name="connsiteY1" fmla="*/ 26148 h 981206"/>
              <a:gd name="connsiteX2" fmla="*/ 4570994 w 4570994"/>
              <a:gd name="connsiteY2" fmla="*/ 737550 h 981206"/>
              <a:gd name="connsiteX3" fmla="*/ 4494224 w 4570994"/>
              <a:gd name="connsiteY3" fmla="*/ 926785 h 981206"/>
              <a:gd name="connsiteX4" fmla="*/ 1644367 w 4570994"/>
              <a:gd name="connsiteY4" fmla="*/ 263163 h 981206"/>
              <a:gd name="connsiteX5" fmla="*/ 261299 w 4570994"/>
              <a:gd name="connsiteY5" fmla="*/ 981206 h 981206"/>
              <a:gd name="connsiteX6" fmla="*/ 0 w 4570994"/>
              <a:gd name="connsiteY6" fmla="*/ 875720 h 981206"/>
              <a:gd name="connsiteX0" fmla="*/ 0 w 4570994"/>
              <a:gd name="connsiteY0" fmla="*/ 875720 h 981206"/>
              <a:gd name="connsiteX1" fmla="*/ 1489521 w 4570994"/>
              <a:gd name="connsiteY1" fmla="*/ 26148 h 981206"/>
              <a:gd name="connsiteX2" fmla="*/ 4570994 w 4570994"/>
              <a:gd name="connsiteY2" fmla="*/ 737550 h 981206"/>
              <a:gd name="connsiteX3" fmla="*/ 4494224 w 4570994"/>
              <a:gd name="connsiteY3" fmla="*/ 926785 h 981206"/>
              <a:gd name="connsiteX4" fmla="*/ 1723314 w 4570994"/>
              <a:gd name="connsiteY4" fmla="*/ 284751 h 981206"/>
              <a:gd name="connsiteX5" fmla="*/ 261299 w 4570994"/>
              <a:gd name="connsiteY5" fmla="*/ 981206 h 981206"/>
              <a:gd name="connsiteX6" fmla="*/ 0 w 4570994"/>
              <a:gd name="connsiteY6" fmla="*/ 875720 h 981206"/>
              <a:gd name="connsiteX0" fmla="*/ 0 w 4570994"/>
              <a:gd name="connsiteY0" fmla="*/ 875720 h 981206"/>
              <a:gd name="connsiteX1" fmla="*/ 1489521 w 4570994"/>
              <a:gd name="connsiteY1" fmla="*/ 26148 h 981206"/>
              <a:gd name="connsiteX2" fmla="*/ 4570994 w 4570994"/>
              <a:gd name="connsiteY2" fmla="*/ 737550 h 981206"/>
              <a:gd name="connsiteX3" fmla="*/ 4494224 w 4570994"/>
              <a:gd name="connsiteY3" fmla="*/ 926785 h 981206"/>
              <a:gd name="connsiteX4" fmla="*/ 1711276 w 4570994"/>
              <a:gd name="connsiteY4" fmla="*/ 254307 h 981206"/>
              <a:gd name="connsiteX5" fmla="*/ 261299 w 4570994"/>
              <a:gd name="connsiteY5" fmla="*/ 981206 h 981206"/>
              <a:gd name="connsiteX6" fmla="*/ 0 w 4570994"/>
              <a:gd name="connsiteY6" fmla="*/ 875720 h 981206"/>
              <a:gd name="connsiteX0" fmla="*/ 0 w 4570994"/>
              <a:gd name="connsiteY0" fmla="*/ 878660 h 984146"/>
              <a:gd name="connsiteX1" fmla="*/ 1489521 w 4570994"/>
              <a:gd name="connsiteY1" fmla="*/ 29088 h 984146"/>
              <a:gd name="connsiteX2" fmla="*/ 4570994 w 4570994"/>
              <a:gd name="connsiteY2" fmla="*/ 740490 h 984146"/>
              <a:gd name="connsiteX3" fmla="*/ 4494224 w 4570994"/>
              <a:gd name="connsiteY3" fmla="*/ 929725 h 984146"/>
              <a:gd name="connsiteX4" fmla="*/ 1711276 w 4570994"/>
              <a:gd name="connsiteY4" fmla="*/ 257247 h 984146"/>
              <a:gd name="connsiteX5" fmla="*/ 261299 w 4570994"/>
              <a:gd name="connsiteY5" fmla="*/ 984146 h 984146"/>
              <a:gd name="connsiteX6" fmla="*/ 0 w 4570994"/>
              <a:gd name="connsiteY6" fmla="*/ 878660 h 984146"/>
              <a:gd name="connsiteX0" fmla="*/ 0 w 4570994"/>
              <a:gd name="connsiteY0" fmla="*/ 880025 h 985511"/>
              <a:gd name="connsiteX1" fmla="*/ 1489521 w 4570994"/>
              <a:gd name="connsiteY1" fmla="*/ 30453 h 985511"/>
              <a:gd name="connsiteX2" fmla="*/ 4570994 w 4570994"/>
              <a:gd name="connsiteY2" fmla="*/ 741855 h 985511"/>
              <a:gd name="connsiteX3" fmla="*/ 4494224 w 4570994"/>
              <a:gd name="connsiteY3" fmla="*/ 931090 h 985511"/>
              <a:gd name="connsiteX4" fmla="*/ 1711276 w 4570994"/>
              <a:gd name="connsiteY4" fmla="*/ 258612 h 985511"/>
              <a:gd name="connsiteX5" fmla="*/ 261299 w 4570994"/>
              <a:gd name="connsiteY5" fmla="*/ 985511 h 985511"/>
              <a:gd name="connsiteX6" fmla="*/ 0 w 4570994"/>
              <a:gd name="connsiteY6" fmla="*/ 880025 h 985511"/>
              <a:gd name="connsiteX0" fmla="*/ 0 w 4570994"/>
              <a:gd name="connsiteY0" fmla="*/ 862528 h 968014"/>
              <a:gd name="connsiteX1" fmla="*/ 1489521 w 4570994"/>
              <a:gd name="connsiteY1" fmla="*/ 12956 h 968014"/>
              <a:gd name="connsiteX2" fmla="*/ 4570994 w 4570994"/>
              <a:gd name="connsiteY2" fmla="*/ 724358 h 968014"/>
              <a:gd name="connsiteX3" fmla="*/ 4494224 w 4570994"/>
              <a:gd name="connsiteY3" fmla="*/ 913593 h 968014"/>
              <a:gd name="connsiteX4" fmla="*/ 1711276 w 4570994"/>
              <a:gd name="connsiteY4" fmla="*/ 241115 h 968014"/>
              <a:gd name="connsiteX5" fmla="*/ 261299 w 4570994"/>
              <a:gd name="connsiteY5" fmla="*/ 968014 h 968014"/>
              <a:gd name="connsiteX6" fmla="*/ 0 w 4570994"/>
              <a:gd name="connsiteY6" fmla="*/ 862528 h 968014"/>
              <a:gd name="connsiteX0" fmla="*/ 0 w 4570994"/>
              <a:gd name="connsiteY0" fmla="*/ 862528 h 968014"/>
              <a:gd name="connsiteX1" fmla="*/ 1489521 w 4570994"/>
              <a:gd name="connsiteY1" fmla="*/ 12956 h 968014"/>
              <a:gd name="connsiteX2" fmla="*/ 4570994 w 4570994"/>
              <a:gd name="connsiteY2" fmla="*/ 724358 h 968014"/>
              <a:gd name="connsiteX3" fmla="*/ 4494224 w 4570994"/>
              <a:gd name="connsiteY3" fmla="*/ 913593 h 968014"/>
              <a:gd name="connsiteX4" fmla="*/ 1711276 w 4570994"/>
              <a:gd name="connsiteY4" fmla="*/ 241115 h 968014"/>
              <a:gd name="connsiteX5" fmla="*/ 261299 w 4570994"/>
              <a:gd name="connsiteY5" fmla="*/ 968014 h 968014"/>
              <a:gd name="connsiteX6" fmla="*/ 0 w 4570994"/>
              <a:gd name="connsiteY6" fmla="*/ 862528 h 968014"/>
              <a:gd name="connsiteX0" fmla="*/ 0 w 4570994"/>
              <a:gd name="connsiteY0" fmla="*/ 862528 h 968014"/>
              <a:gd name="connsiteX1" fmla="*/ 1489521 w 4570994"/>
              <a:gd name="connsiteY1" fmla="*/ 12956 h 968014"/>
              <a:gd name="connsiteX2" fmla="*/ 4570994 w 4570994"/>
              <a:gd name="connsiteY2" fmla="*/ 724358 h 968014"/>
              <a:gd name="connsiteX3" fmla="*/ 4494224 w 4570994"/>
              <a:gd name="connsiteY3" fmla="*/ 913593 h 968014"/>
              <a:gd name="connsiteX4" fmla="*/ 1562723 w 4570994"/>
              <a:gd name="connsiteY4" fmla="*/ 262477 h 968014"/>
              <a:gd name="connsiteX5" fmla="*/ 261299 w 4570994"/>
              <a:gd name="connsiteY5" fmla="*/ 968014 h 968014"/>
              <a:gd name="connsiteX6" fmla="*/ 0 w 4570994"/>
              <a:gd name="connsiteY6" fmla="*/ 862528 h 968014"/>
              <a:gd name="connsiteX0" fmla="*/ 0 w 4570994"/>
              <a:gd name="connsiteY0" fmla="*/ 862528 h 968014"/>
              <a:gd name="connsiteX1" fmla="*/ 1489521 w 4570994"/>
              <a:gd name="connsiteY1" fmla="*/ 12956 h 968014"/>
              <a:gd name="connsiteX2" fmla="*/ 4570994 w 4570994"/>
              <a:gd name="connsiteY2" fmla="*/ 724358 h 968014"/>
              <a:gd name="connsiteX3" fmla="*/ 4494224 w 4570994"/>
              <a:gd name="connsiteY3" fmla="*/ 913593 h 968014"/>
              <a:gd name="connsiteX4" fmla="*/ 1562723 w 4570994"/>
              <a:gd name="connsiteY4" fmla="*/ 262477 h 968014"/>
              <a:gd name="connsiteX5" fmla="*/ 261299 w 4570994"/>
              <a:gd name="connsiteY5" fmla="*/ 968014 h 968014"/>
              <a:gd name="connsiteX6" fmla="*/ 0 w 4570994"/>
              <a:gd name="connsiteY6" fmla="*/ 862528 h 968014"/>
              <a:gd name="connsiteX0" fmla="*/ 0 w 4570994"/>
              <a:gd name="connsiteY0" fmla="*/ 862528 h 968014"/>
              <a:gd name="connsiteX1" fmla="*/ 1489521 w 4570994"/>
              <a:gd name="connsiteY1" fmla="*/ 12956 h 968014"/>
              <a:gd name="connsiteX2" fmla="*/ 4570994 w 4570994"/>
              <a:gd name="connsiteY2" fmla="*/ 724358 h 968014"/>
              <a:gd name="connsiteX3" fmla="*/ 4494224 w 4570994"/>
              <a:gd name="connsiteY3" fmla="*/ 913593 h 968014"/>
              <a:gd name="connsiteX4" fmla="*/ 1562723 w 4570994"/>
              <a:gd name="connsiteY4" fmla="*/ 262477 h 968014"/>
              <a:gd name="connsiteX5" fmla="*/ 261299 w 4570994"/>
              <a:gd name="connsiteY5" fmla="*/ 968014 h 968014"/>
              <a:gd name="connsiteX6" fmla="*/ 0 w 4570994"/>
              <a:gd name="connsiteY6" fmla="*/ 862528 h 968014"/>
              <a:gd name="connsiteX0" fmla="*/ 0 w 4570994"/>
              <a:gd name="connsiteY0" fmla="*/ 873977 h 979463"/>
              <a:gd name="connsiteX1" fmla="*/ 1489521 w 4570994"/>
              <a:gd name="connsiteY1" fmla="*/ 24405 h 979463"/>
              <a:gd name="connsiteX2" fmla="*/ 4570994 w 4570994"/>
              <a:gd name="connsiteY2" fmla="*/ 735807 h 979463"/>
              <a:gd name="connsiteX3" fmla="*/ 4494224 w 4570994"/>
              <a:gd name="connsiteY3" fmla="*/ 925042 h 979463"/>
              <a:gd name="connsiteX4" fmla="*/ 1562723 w 4570994"/>
              <a:gd name="connsiteY4" fmla="*/ 273926 h 979463"/>
              <a:gd name="connsiteX5" fmla="*/ 261299 w 4570994"/>
              <a:gd name="connsiteY5" fmla="*/ 979463 h 979463"/>
              <a:gd name="connsiteX6" fmla="*/ 0 w 4570994"/>
              <a:gd name="connsiteY6" fmla="*/ 873977 h 979463"/>
              <a:gd name="connsiteX0" fmla="*/ 0 w 4570994"/>
              <a:gd name="connsiteY0" fmla="*/ 873977 h 980953"/>
              <a:gd name="connsiteX1" fmla="*/ 1489521 w 4570994"/>
              <a:gd name="connsiteY1" fmla="*/ 24405 h 980953"/>
              <a:gd name="connsiteX2" fmla="*/ 4570994 w 4570994"/>
              <a:gd name="connsiteY2" fmla="*/ 735807 h 980953"/>
              <a:gd name="connsiteX3" fmla="*/ 4494224 w 4570994"/>
              <a:gd name="connsiteY3" fmla="*/ 925042 h 980953"/>
              <a:gd name="connsiteX4" fmla="*/ 1562723 w 4570994"/>
              <a:gd name="connsiteY4" fmla="*/ 273926 h 980953"/>
              <a:gd name="connsiteX5" fmla="*/ 177609 w 4570994"/>
              <a:gd name="connsiteY5" fmla="*/ 980953 h 980953"/>
              <a:gd name="connsiteX6" fmla="*/ 0 w 4570994"/>
              <a:gd name="connsiteY6" fmla="*/ 873977 h 980953"/>
              <a:gd name="connsiteX0" fmla="*/ 0 w 4570994"/>
              <a:gd name="connsiteY0" fmla="*/ 873977 h 980953"/>
              <a:gd name="connsiteX1" fmla="*/ 1489521 w 4570994"/>
              <a:gd name="connsiteY1" fmla="*/ 24405 h 980953"/>
              <a:gd name="connsiteX2" fmla="*/ 4570994 w 4570994"/>
              <a:gd name="connsiteY2" fmla="*/ 735807 h 980953"/>
              <a:gd name="connsiteX3" fmla="*/ 4494224 w 4570994"/>
              <a:gd name="connsiteY3" fmla="*/ 925042 h 980953"/>
              <a:gd name="connsiteX4" fmla="*/ 1562723 w 4570994"/>
              <a:gd name="connsiteY4" fmla="*/ 273926 h 980953"/>
              <a:gd name="connsiteX5" fmla="*/ 177609 w 4570994"/>
              <a:gd name="connsiteY5" fmla="*/ 980953 h 980953"/>
              <a:gd name="connsiteX6" fmla="*/ 0 w 4570994"/>
              <a:gd name="connsiteY6" fmla="*/ 873977 h 980953"/>
              <a:gd name="connsiteX0" fmla="*/ 0 w 4570994"/>
              <a:gd name="connsiteY0" fmla="*/ 873977 h 980953"/>
              <a:gd name="connsiteX1" fmla="*/ 1489521 w 4570994"/>
              <a:gd name="connsiteY1" fmla="*/ 24405 h 980953"/>
              <a:gd name="connsiteX2" fmla="*/ 4570994 w 4570994"/>
              <a:gd name="connsiteY2" fmla="*/ 735807 h 980953"/>
              <a:gd name="connsiteX3" fmla="*/ 4494224 w 4570994"/>
              <a:gd name="connsiteY3" fmla="*/ 925042 h 980953"/>
              <a:gd name="connsiteX4" fmla="*/ 1562723 w 4570994"/>
              <a:gd name="connsiteY4" fmla="*/ 273926 h 980953"/>
              <a:gd name="connsiteX5" fmla="*/ 177609 w 4570994"/>
              <a:gd name="connsiteY5" fmla="*/ 980953 h 980953"/>
              <a:gd name="connsiteX6" fmla="*/ 0 w 4570994"/>
              <a:gd name="connsiteY6" fmla="*/ 873977 h 980953"/>
              <a:gd name="connsiteX0" fmla="*/ 0 w 4570994"/>
              <a:gd name="connsiteY0" fmla="*/ 873977 h 980953"/>
              <a:gd name="connsiteX1" fmla="*/ 1489521 w 4570994"/>
              <a:gd name="connsiteY1" fmla="*/ 24405 h 980953"/>
              <a:gd name="connsiteX2" fmla="*/ 4570994 w 4570994"/>
              <a:gd name="connsiteY2" fmla="*/ 735807 h 980953"/>
              <a:gd name="connsiteX3" fmla="*/ 4494224 w 4570994"/>
              <a:gd name="connsiteY3" fmla="*/ 925042 h 980953"/>
              <a:gd name="connsiteX4" fmla="*/ 1562723 w 4570994"/>
              <a:gd name="connsiteY4" fmla="*/ 273926 h 980953"/>
              <a:gd name="connsiteX5" fmla="*/ 177609 w 4570994"/>
              <a:gd name="connsiteY5" fmla="*/ 980953 h 980953"/>
              <a:gd name="connsiteX6" fmla="*/ 0 w 4570994"/>
              <a:gd name="connsiteY6" fmla="*/ 873977 h 980953"/>
              <a:gd name="connsiteX0" fmla="*/ 0 w 4570994"/>
              <a:gd name="connsiteY0" fmla="*/ 884996 h 991972"/>
              <a:gd name="connsiteX1" fmla="*/ 1706052 w 4570994"/>
              <a:gd name="connsiteY1" fmla="*/ 23543 h 991972"/>
              <a:gd name="connsiteX2" fmla="*/ 4570994 w 4570994"/>
              <a:gd name="connsiteY2" fmla="*/ 746826 h 991972"/>
              <a:gd name="connsiteX3" fmla="*/ 4494224 w 4570994"/>
              <a:gd name="connsiteY3" fmla="*/ 936061 h 991972"/>
              <a:gd name="connsiteX4" fmla="*/ 1562723 w 4570994"/>
              <a:gd name="connsiteY4" fmla="*/ 284945 h 991972"/>
              <a:gd name="connsiteX5" fmla="*/ 177609 w 4570994"/>
              <a:gd name="connsiteY5" fmla="*/ 991972 h 991972"/>
              <a:gd name="connsiteX6" fmla="*/ 0 w 4570994"/>
              <a:gd name="connsiteY6" fmla="*/ 884996 h 991972"/>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562723 w 4570994"/>
              <a:gd name="connsiteY4" fmla="*/ 271942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562723 w 4570994"/>
              <a:gd name="connsiteY4" fmla="*/ 271942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562723 w 4570994"/>
              <a:gd name="connsiteY4" fmla="*/ 271942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612933 w 4570994"/>
              <a:gd name="connsiteY4" fmla="*/ 225750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612933 w 4570994"/>
              <a:gd name="connsiteY4" fmla="*/ 225750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612933 w 4570994"/>
              <a:gd name="connsiteY4" fmla="*/ 225750 h 978969"/>
              <a:gd name="connsiteX5" fmla="*/ 177609 w 4570994"/>
              <a:gd name="connsiteY5" fmla="*/ 978969 h 978969"/>
              <a:gd name="connsiteX6" fmla="*/ 0 w 4570994"/>
              <a:gd name="connsiteY6" fmla="*/ 871993 h 978969"/>
              <a:gd name="connsiteX0" fmla="*/ 0 w 4570994"/>
              <a:gd name="connsiteY0" fmla="*/ 871993 h 978969"/>
              <a:gd name="connsiteX1" fmla="*/ 1706052 w 4570994"/>
              <a:gd name="connsiteY1" fmla="*/ 10540 h 978969"/>
              <a:gd name="connsiteX2" fmla="*/ 4570994 w 4570994"/>
              <a:gd name="connsiteY2" fmla="*/ 733823 h 978969"/>
              <a:gd name="connsiteX3" fmla="*/ 4494224 w 4570994"/>
              <a:gd name="connsiteY3" fmla="*/ 923058 h 978969"/>
              <a:gd name="connsiteX4" fmla="*/ 1612933 w 4570994"/>
              <a:gd name="connsiteY4" fmla="*/ 225750 h 978969"/>
              <a:gd name="connsiteX5" fmla="*/ 177609 w 4570994"/>
              <a:gd name="connsiteY5" fmla="*/ 978969 h 978969"/>
              <a:gd name="connsiteX6" fmla="*/ 0 w 4570994"/>
              <a:gd name="connsiteY6" fmla="*/ 871993 h 978969"/>
              <a:gd name="connsiteX0" fmla="*/ 0 w 4570994"/>
              <a:gd name="connsiteY0" fmla="*/ 908679 h 1015655"/>
              <a:gd name="connsiteX1" fmla="*/ 1722575 w 4570994"/>
              <a:gd name="connsiteY1" fmla="*/ 9087 h 1015655"/>
              <a:gd name="connsiteX2" fmla="*/ 4570994 w 4570994"/>
              <a:gd name="connsiteY2" fmla="*/ 770509 h 1015655"/>
              <a:gd name="connsiteX3" fmla="*/ 4494224 w 4570994"/>
              <a:gd name="connsiteY3" fmla="*/ 959744 h 1015655"/>
              <a:gd name="connsiteX4" fmla="*/ 1612933 w 4570994"/>
              <a:gd name="connsiteY4" fmla="*/ 262436 h 1015655"/>
              <a:gd name="connsiteX5" fmla="*/ 177609 w 4570994"/>
              <a:gd name="connsiteY5" fmla="*/ 1015655 h 1015655"/>
              <a:gd name="connsiteX6" fmla="*/ 0 w 4570994"/>
              <a:gd name="connsiteY6" fmla="*/ 908679 h 1015655"/>
              <a:gd name="connsiteX0" fmla="*/ 0 w 4570994"/>
              <a:gd name="connsiteY0" fmla="*/ 899604 h 1006580"/>
              <a:gd name="connsiteX1" fmla="*/ 1722575 w 4570994"/>
              <a:gd name="connsiteY1" fmla="*/ 12 h 1006580"/>
              <a:gd name="connsiteX2" fmla="*/ 4570994 w 4570994"/>
              <a:gd name="connsiteY2" fmla="*/ 761434 h 1006580"/>
              <a:gd name="connsiteX3" fmla="*/ 4494224 w 4570994"/>
              <a:gd name="connsiteY3" fmla="*/ 950669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612933 w 4570994"/>
              <a:gd name="connsiteY4" fmla="*/ 25336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596445 w 4570994"/>
              <a:gd name="connsiteY4" fmla="*/ 269721 h 1006580"/>
              <a:gd name="connsiteX5" fmla="*/ 177609 w 4570994"/>
              <a:gd name="connsiteY5" fmla="*/ 1006580 h 1006580"/>
              <a:gd name="connsiteX6" fmla="*/ 0 w 4570994"/>
              <a:gd name="connsiteY6" fmla="*/ 899604 h 1006580"/>
              <a:gd name="connsiteX0" fmla="*/ 0 w 4570994"/>
              <a:gd name="connsiteY0" fmla="*/ 899604 h 1006580"/>
              <a:gd name="connsiteX1" fmla="*/ 1722575 w 4570994"/>
              <a:gd name="connsiteY1" fmla="*/ 12 h 1006580"/>
              <a:gd name="connsiteX2" fmla="*/ 4570994 w 4570994"/>
              <a:gd name="connsiteY2" fmla="*/ 761434 h 1006580"/>
              <a:gd name="connsiteX3" fmla="*/ 4492510 w 4570994"/>
              <a:gd name="connsiteY3" fmla="*/ 954627 h 1006580"/>
              <a:gd name="connsiteX4" fmla="*/ 1596445 w 4570994"/>
              <a:gd name="connsiteY4" fmla="*/ 269721 h 1006580"/>
              <a:gd name="connsiteX5" fmla="*/ 177609 w 4570994"/>
              <a:gd name="connsiteY5" fmla="*/ 1006580 h 1006580"/>
              <a:gd name="connsiteX6" fmla="*/ 0 w 4570994"/>
              <a:gd name="connsiteY6" fmla="*/ 899604 h 1006580"/>
              <a:gd name="connsiteX0" fmla="*/ 0 w 4570994"/>
              <a:gd name="connsiteY0" fmla="*/ 900886 h 1007862"/>
              <a:gd name="connsiteX1" fmla="*/ 1722575 w 4570994"/>
              <a:gd name="connsiteY1" fmla="*/ 1294 h 1007862"/>
              <a:gd name="connsiteX2" fmla="*/ 4570994 w 4570994"/>
              <a:gd name="connsiteY2" fmla="*/ 762716 h 1007862"/>
              <a:gd name="connsiteX3" fmla="*/ 4492510 w 4570994"/>
              <a:gd name="connsiteY3" fmla="*/ 955909 h 1007862"/>
              <a:gd name="connsiteX4" fmla="*/ 1596445 w 4570994"/>
              <a:gd name="connsiteY4" fmla="*/ 271003 h 1007862"/>
              <a:gd name="connsiteX5" fmla="*/ 177609 w 4570994"/>
              <a:gd name="connsiteY5" fmla="*/ 1007862 h 1007862"/>
              <a:gd name="connsiteX6" fmla="*/ 0 w 4570994"/>
              <a:gd name="connsiteY6" fmla="*/ 900886 h 1007862"/>
              <a:gd name="connsiteX0" fmla="*/ 0 w 4570994"/>
              <a:gd name="connsiteY0" fmla="*/ 900886 h 1007862"/>
              <a:gd name="connsiteX1" fmla="*/ 1722575 w 4570994"/>
              <a:gd name="connsiteY1" fmla="*/ 1294 h 1007862"/>
              <a:gd name="connsiteX2" fmla="*/ 4570994 w 4570994"/>
              <a:gd name="connsiteY2" fmla="*/ 762716 h 1007862"/>
              <a:gd name="connsiteX3" fmla="*/ 4492510 w 4570994"/>
              <a:gd name="connsiteY3" fmla="*/ 955909 h 1007862"/>
              <a:gd name="connsiteX4" fmla="*/ 1596445 w 4570994"/>
              <a:gd name="connsiteY4" fmla="*/ 271003 h 1007862"/>
              <a:gd name="connsiteX5" fmla="*/ 177609 w 4570994"/>
              <a:gd name="connsiteY5" fmla="*/ 1007862 h 1007862"/>
              <a:gd name="connsiteX6" fmla="*/ 0 w 4570994"/>
              <a:gd name="connsiteY6" fmla="*/ 900886 h 1007862"/>
              <a:gd name="connsiteX0" fmla="*/ 0 w 4570994"/>
              <a:gd name="connsiteY0" fmla="*/ 900886 h 1007862"/>
              <a:gd name="connsiteX1" fmla="*/ 1722575 w 4570994"/>
              <a:gd name="connsiteY1" fmla="*/ 1294 h 1007862"/>
              <a:gd name="connsiteX2" fmla="*/ 4570994 w 4570994"/>
              <a:gd name="connsiteY2" fmla="*/ 762716 h 1007862"/>
              <a:gd name="connsiteX3" fmla="*/ 4492510 w 4570994"/>
              <a:gd name="connsiteY3" fmla="*/ 955909 h 1007862"/>
              <a:gd name="connsiteX4" fmla="*/ 1596445 w 4570994"/>
              <a:gd name="connsiteY4" fmla="*/ 271003 h 1007862"/>
              <a:gd name="connsiteX5" fmla="*/ 177609 w 4570994"/>
              <a:gd name="connsiteY5" fmla="*/ 1007862 h 1007862"/>
              <a:gd name="connsiteX6" fmla="*/ 0 w 4570994"/>
              <a:gd name="connsiteY6" fmla="*/ 900886 h 1007862"/>
              <a:gd name="connsiteX0" fmla="*/ 0 w 4570994"/>
              <a:gd name="connsiteY0" fmla="*/ 900886 h 1007862"/>
              <a:gd name="connsiteX1" fmla="*/ 1722575 w 4570994"/>
              <a:gd name="connsiteY1" fmla="*/ 1294 h 1007862"/>
              <a:gd name="connsiteX2" fmla="*/ 4570994 w 4570994"/>
              <a:gd name="connsiteY2" fmla="*/ 762716 h 1007862"/>
              <a:gd name="connsiteX3" fmla="*/ 4492510 w 4570994"/>
              <a:gd name="connsiteY3" fmla="*/ 955909 h 1007862"/>
              <a:gd name="connsiteX4" fmla="*/ 1596445 w 4570994"/>
              <a:gd name="connsiteY4" fmla="*/ 271003 h 1007862"/>
              <a:gd name="connsiteX5" fmla="*/ 177609 w 4570994"/>
              <a:gd name="connsiteY5" fmla="*/ 1007862 h 1007862"/>
              <a:gd name="connsiteX6" fmla="*/ 0 w 4570994"/>
              <a:gd name="connsiteY6" fmla="*/ 900886 h 1007862"/>
              <a:gd name="connsiteX0" fmla="*/ 0 w 4570994"/>
              <a:gd name="connsiteY0" fmla="*/ 900778 h 1007754"/>
              <a:gd name="connsiteX1" fmla="*/ 1722575 w 4570994"/>
              <a:gd name="connsiteY1" fmla="*/ 1186 h 1007754"/>
              <a:gd name="connsiteX2" fmla="*/ 4570994 w 4570994"/>
              <a:gd name="connsiteY2" fmla="*/ 762608 h 1007754"/>
              <a:gd name="connsiteX3" fmla="*/ 4492510 w 4570994"/>
              <a:gd name="connsiteY3" fmla="*/ 955801 h 1007754"/>
              <a:gd name="connsiteX4" fmla="*/ 1596445 w 4570994"/>
              <a:gd name="connsiteY4" fmla="*/ 270895 h 1007754"/>
              <a:gd name="connsiteX5" fmla="*/ 177609 w 4570994"/>
              <a:gd name="connsiteY5" fmla="*/ 1007754 h 1007754"/>
              <a:gd name="connsiteX6" fmla="*/ 0 w 4570994"/>
              <a:gd name="connsiteY6" fmla="*/ 900778 h 10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0994" h="1007754">
                <a:moveTo>
                  <a:pt x="0" y="900778"/>
                </a:moveTo>
                <a:cubicBezTo>
                  <a:pt x="314040" y="506289"/>
                  <a:pt x="1016863" y="-28521"/>
                  <a:pt x="1722575" y="1186"/>
                </a:cubicBezTo>
                <a:cubicBezTo>
                  <a:pt x="2446422" y="31656"/>
                  <a:pt x="2954232" y="129019"/>
                  <a:pt x="4570994" y="762608"/>
                </a:cubicBezTo>
                <a:lnTo>
                  <a:pt x="4492510" y="955801"/>
                </a:lnTo>
                <a:cubicBezTo>
                  <a:pt x="3468434" y="557697"/>
                  <a:pt x="2053787" y="181068"/>
                  <a:pt x="1596445" y="270895"/>
                </a:cubicBezTo>
                <a:cubicBezTo>
                  <a:pt x="1028975" y="394767"/>
                  <a:pt x="673998" y="534003"/>
                  <a:pt x="177609" y="1007754"/>
                </a:cubicBezTo>
                <a:lnTo>
                  <a:pt x="0" y="900778"/>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416" name="Block Arc 415">
            <a:extLst>
              <a:ext uri="{FF2B5EF4-FFF2-40B4-BE49-F238E27FC236}">
                <a16:creationId xmlns:a16="http://schemas.microsoft.com/office/drawing/2014/main" id="{3DDCFD03-F153-4048-A832-F53A45055851}"/>
              </a:ext>
            </a:extLst>
          </p:cNvPr>
          <p:cNvSpPr/>
          <p:nvPr/>
        </p:nvSpPr>
        <p:spPr bwMode="auto">
          <a:xfrm rot="6682828">
            <a:off x="6181507" y="1066599"/>
            <a:ext cx="1480106" cy="2960036"/>
          </a:xfrm>
          <a:custGeom>
            <a:avLst/>
            <a:gdLst>
              <a:gd name="connsiteX0" fmla="*/ 84028 w 2184566"/>
              <a:gd name="connsiteY0" fmla="*/ 1481678 h 2140180"/>
              <a:gd name="connsiteX1" fmla="*/ 327043 w 2184566"/>
              <a:gd name="connsiteY1" fmla="*/ 306509 h 2140180"/>
              <a:gd name="connsiteX2" fmla="*/ 1495710 w 2184566"/>
              <a:gd name="connsiteY2" fmla="*/ 75662 h 2140180"/>
              <a:gd name="connsiteX3" fmla="*/ 1418940 w 2184566"/>
              <a:gd name="connsiteY3" fmla="*/ 264897 h 2140180"/>
              <a:gd name="connsiteX4" fmla="*/ 471615 w 2184566"/>
              <a:gd name="connsiteY4" fmla="*/ 450769 h 2140180"/>
              <a:gd name="connsiteX5" fmla="*/ 273096 w 2184566"/>
              <a:gd name="connsiteY5" fmla="*/ 1404498 h 2140180"/>
              <a:gd name="connsiteX6" fmla="*/ 84028 w 2184566"/>
              <a:gd name="connsiteY6" fmla="*/ 1481678 h 2140180"/>
              <a:gd name="connsiteX0" fmla="*/ 63635 w 1401601"/>
              <a:gd name="connsiteY0" fmla="*/ 3152570 h 3152570"/>
              <a:gd name="connsiteX1" fmla="*/ 306650 w 1401601"/>
              <a:gd name="connsiteY1" fmla="*/ 1977401 h 3152570"/>
              <a:gd name="connsiteX2" fmla="*/ 1305370 w 1401601"/>
              <a:gd name="connsiteY2" fmla="*/ 10721 h 3152570"/>
              <a:gd name="connsiteX3" fmla="*/ 1398547 w 1401601"/>
              <a:gd name="connsiteY3" fmla="*/ 1935789 h 3152570"/>
              <a:gd name="connsiteX4" fmla="*/ 451222 w 1401601"/>
              <a:gd name="connsiteY4" fmla="*/ 2121661 h 3152570"/>
              <a:gd name="connsiteX5" fmla="*/ 252703 w 1401601"/>
              <a:gd name="connsiteY5" fmla="*/ 3075390 h 3152570"/>
              <a:gd name="connsiteX6" fmla="*/ 63635 w 1401601"/>
              <a:gd name="connsiteY6" fmla="*/ 3152570 h 3152570"/>
              <a:gd name="connsiteX0" fmla="*/ 63635 w 1385737"/>
              <a:gd name="connsiteY0" fmla="*/ 3152570 h 3152570"/>
              <a:gd name="connsiteX1" fmla="*/ 306650 w 1385737"/>
              <a:gd name="connsiteY1" fmla="*/ 1977401 h 3152570"/>
              <a:gd name="connsiteX2" fmla="*/ 1305370 w 1385737"/>
              <a:gd name="connsiteY2" fmla="*/ 10721 h 3152570"/>
              <a:gd name="connsiteX3" fmla="*/ 1382339 w 1385737"/>
              <a:gd name="connsiteY3" fmla="*/ 338649 h 3152570"/>
              <a:gd name="connsiteX4" fmla="*/ 451222 w 1385737"/>
              <a:gd name="connsiteY4" fmla="*/ 2121661 h 3152570"/>
              <a:gd name="connsiteX5" fmla="*/ 252703 w 1385737"/>
              <a:gd name="connsiteY5" fmla="*/ 3075390 h 3152570"/>
              <a:gd name="connsiteX6" fmla="*/ 63635 w 1385737"/>
              <a:gd name="connsiteY6" fmla="*/ 3152570 h 3152570"/>
              <a:gd name="connsiteX0" fmla="*/ 194452 w 1516554"/>
              <a:gd name="connsiteY0" fmla="*/ 3166030 h 3166030"/>
              <a:gd name="connsiteX1" fmla="*/ 109248 w 1516554"/>
              <a:gd name="connsiteY1" fmla="*/ 1025508 h 3166030"/>
              <a:gd name="connsiteX2" fmla="*/ 1436187 w 1516554"/>
              <a:gd name="connsiteY2" fmla="*/ 24181 h 3166030"/>
              <a:gd name="connsiteX3" fmla="*/ 1513156 w 1516554"/>
              <a:gd name="connsiteY3" fmla="*/ 352109 h 3166030"/>
              <a:gd name="connsiteX4" fmla="*/ 582039 w 1516554"/>
              <a:gd name="connsiteY4" fmla="*/ 2135121 h 3166030"/>
              <a:gd name="connsiteX5" fmla="*/ 383520 w 1516554"/>
              <a:gd name="connsiteY5" fmla="*/ 3088850 h 3166030"/>
              <a:gd name="connsiteX6" fmla="*/ 194452 w 1516554"/>
              <a:gd name="connsiteY6" fmla="*/ 3166030 h 3166030"/>
              <a:gd name="connsiteX0" fmla="*/ 194452 w 1516554"/>
              <a:gd name="connsiteY0" fmla="*/ 3166030 h 3166030"/>
              <a:gd name="connsiteX1" fmla="*/ 109248 w 1516554"/>
              <a:gd name="connsiteY1" fmla="*/ 1025508 h 3166030"/>
              <a:gd name="connsiteX2" fmla="*/ 1436187 w 1516554"/>
              <a:gd name="connsiteY2" fmla="*/ 24181 h 3166030"/>
              <a:gd name="connsiteX3" fmla="*/ 1513156 w 1516554"/>
              <a:gd name="connsiteY3" fmla="*/ 352109 h 3166030"/>
              <a:gd name="connsiteX4" fmla="*/ 462825 w 1516554"/>
              <a:gd name="connsiteY4" fmla="*/ 1100372 h 3166030"/>
              <a:gd name="connsiteX5" fmla="*/ 383520 w 1516554"/>
              <a:gd name="connsiteY5" fmla="*/ 3088850 h 3166030"/>
              <a:gd name="connsiteX6" fmla="*/ 194452 w 1516554"/>
              <a:gd name="connsiteY6" fmla="*/ 3166030 h 3166030"/>
              <a:gd name="connsiteX0" fmla="*/ 194452 w 1516554"/>
              <a:gd name="connsiteY0" fmla="*/ 3166030 h 3166030"/>
              <a:gd name="connsiteX1" fmla="*/ 109248 w 1516554"/>
              <a:gd name="connsiteY1" fmla="*/ 1025508 h 3166030"/>
              <a:gd name="connsiteX2" fmla="*/ 1436187 w 1516554"/>
              <a:gd name="connsiteY2" fmla="*/ 24181 h 3166030"/>
              <a:gd name="connsiteX3" fmla="*/ 1513156 w 1516554"/>
              <a:gd name="connsiteY3" fmla="*/ 352109 h 3166030"/>
              <a:gd name="connsiteX4" fmla="*/ 462825 w 1516554"/>
              <a:gd name="connsiteY4" fmla="*/ 1100372 h 3166030"/>
              <a:gd name="connsiteX5" fmla="*/ 383520 w 1516554"/>
              <a:gd name="connsiteY5" fmla="*/ 3088850 h 3166030"/>
              <a:gd name="connsiteX6" fmla="*/ 194452 w 1516554"/>
              <a:gd name="connsiteY6" fmla="*/ 3166030 h 3166030"/>
              <a:gd name="connsiteX0" fmla="*/ 194452 w 1504224"/>
              <a:gd name="connsiteY0" fmla="*/ 3166030 h 3166030"/>
              <a:gd name="connsiteX1" fmla="*/ 109248 w 1504224"/>
              <a:gd name="connsiteY1" fmla="*/ 1025508 h 3166030"/>
              <a:gd name="connsiteX2" fmla="*/ 1436187 w 1504224"/>
              <a:gd name="connsiteY2" fmla="*/ 24181 h 3166030"/>
              <a:gd name="connsiteX3" fmla="*/ 1500497 w 1504224"/>
              <a:gd name="connsiteY3" fmla="*/ 319774 h 3166030"/>
              <a:gd name="connsiteX4" fmla="*/ 462825 w 1504224"/>
              <a:gd name="connsiteY4" fmla="*/ 1100372 h 3166030"/>
              <a:gd name="connsiteX5" fmla="*/ 383520 w 1504224"/>
              <a:gd name="connsiteY5" fmla="*/ 3088850 h 3166030"/>
              <a:gd name="connsiteX6" fmla="*/ 194452 w 1504224"/>
              <a:gd name="connsiteY6" fmla="*/ 3166030 h 3166030"/>
              <a:gd name="connsiteX0" fmla="*/ 190233 w 1498867"/>
              <a:gd name="connsiteY0" fmla="*/ 3216759 h 3216759"/>
              <a:gd name="connsiteX1" fmla="*/ 105029 w 1498867"/>
              <a:gd name="connsiteY1" fmla="*/ 1076237 h 3216759"/>
              <a:gd name="connsiteX2" fmla="*/ 1374316 w 1498867"/>
              <a:gd name="connsiteY2" fmla="*/ 22901 h 3216759"/>
              <a:gd name="connsiteX3" fmla="*/ 1496278 w 1498867"/>
              <a:gd name="connsiteY3" fmla="*/ 370503 h 3216759"/>
              <a:gd name="connsiteX4" fmla="*/ 458606 w 1498867"/>
              <a:gd name="connsiteY4" fmla="*/ 1151101 h 3216759"/>
              <a:gd name="connsiteX5" fmla="*/ 379301 w 1498867"/>
              <a:gd name="connsiteY5" fmla="*/ 3139579 h 3216759"/>
              <a:gd name="connsiteX6" fmla="*/ 190233 w 1498867"/>
              <a:gd name="connsiteY6" fmla="*/ 3216759 h 3216759"/>
              <a:gd name="connsiteX0" fmla="*/ 190233 w 1498867"/>
              <a:gd name="connsiteY0" fmla="*/ 3193858 h 3193858"/>
              <a:gd name="connsiteX1" fmla="*/ 105029 w 1498867"/>
              <a:gd name="connsiteY1" fmla="*/ 1053336 h 3193858"/>
              <a:gd name="connsiteX2" fmla="*/ 1374316 w 1498867"/>
              <a:gd name="connsiteY2" fmla="*/ 0 h 3193858"/>
              <a:gd name="connsiteX3" fmla="*/ 1496278 w 1498867"/>
              <a:gd name="connsiteY3" fmla="*/ 347602 h 3193858"/>
              <a:gd name="connsiteX4" fmla="*/ 458606 w 1498867"/>
              <a:gd name="connsiteY4" fmla="*/ 1128200 h 3193858"/>
              <a:gd name="connsiteX5" fmla="*/ 379301 w 1498867"/>
              <a:gd name="connsiteY5" fmla="*/ 3116678 h 3193858"/>
              <a:gd name="connsiteX6" fmla="*/ 190233 w 1498867"/>
              <a:gd name="connsiteY6" fmla="*/ 3193858 h 3193858"/>
              <a:gd name="connsiteX0" fmla="*/ 190233 w 1499642"/>
              <a:gd name="connsiteY0" fmla="*/ 3193858 h 3193858"/>
              <a:gd name="connsiteX1" fmla="*/ 105029 w 1499642"/>
              <a:gd name="connsiteY1" fmla="*/ 1053336 h 3193858"/>
              <a:gd name="connsiteX2" fmla="*/ 1374316 w 1499642"/>
              <a:gd name="connsiteY2" fmla="*/ 0 h 3193858"/>
              <a:gd name="connsiteX3" fmla="*/ 1496278 w 1499642"/>
              <a:gd name="connsiteY3" fmla="*/ 347602 h 3193858"/>
              <a:gd name="connsiteX4" fmla="*/ 458606 w 1499642"/>
              <a:gd name="connsiteY4" fmla="*/ 1128200 h 3193858"/>
              <a:gd name="connsiteX5" fmla="*/ 379301 w 1499642"/>
              <a:gd name="connsiteY5" fmla="*/ 3116678 h 3193858"/>
              <a:gd name="connsiteX6" fmla="*/ 190233 w 1499642"/>
              <a:gd name="connsiteY6" fmla="*/ 3193858 h 3193858"/>
              <a:gd name="connsiteX0" fmla="*/ 190233 w 1481375"/>
              <a:gd name="connsiteY0" fmla="*/ 3193858 h 3193858"/>
              <a:gd name="connsiteX1" fmla="*/ 105029 w 1481375"/>
              <a:gd name="connsiteY1" fmla="*/ 1053336 h 3193858"/>
              <a:gd name="connsiteX2" fmla="*/ 1374316 w 1481375"/>
              <a:gd name="connsiteY2" fmla="*/ 0 h 3193858"/>
              <a:gd name="connsiteX3" fmla="*/ 1477518 w 1481375"/>
              <a:gd name="connsiteY3" fmla="*/ 267936 h 3193858"/>
              <a:gd name="connsiteX4" fmla="*/ 458606 w 1481375"/>
              <a:gd name="connsiteY4" fmla="*/ 1128200 h 3193858"/>
              <a:gd name="connsiteX5" fmla="*/ 379301 w 1481375"/>
              <a:gd name="connsiteY5" fmla="*/ 3116678 h 3193858"/>
              <a:gd name="connsiteX6" fmla="*/ 190233 w 1481375"/>
              <a:gd name="connsiteY6" fmla="*/ 3193858 h 3193858"/>
              <a:gd name="connsiteX0" fmla="*/ 190233 w 1481375"/>
              <a:gd name="connsiteY0" fmla="*/ 3193858 h 3193858"/>
              <a:gd name="connsiteX1" fmla="*/ 105029 w 1481375"/>
              <a:gd name="connsiteY1" fmla="*/ 1053336 h 3193858"/>
              <a:gd name="connsiteX2" fmla="*/ 1374316 w 1481375"/>
              <a:gd name="connsiteY2" fmla="*/ 0 h 3193858"/>
              <a:gd name="connsiteX3" fmla="*/ 1477518 w 1481375"/>
              <a:gd name="connsiteY3" fmla="*/ 267936 h 3193858"/>
              <a:gd name="connsiteX4" fmla="*/ 458606 w 1481375"/>
              <a:gd name="connsiteY4" fmla="*/ 1128200 h 3193858"/>
              <a:gd name="connsiteX5" fmla="*/ 379301 w 1481375"/>
              <a:gd name="connsiteY5" fmla="*/ 3116678 h 3193858"/>
              <a:gd name="connsiteX6" fmla="*/ 190233 w 1481375"/>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58606 w 1458798"/>
              <a:gd name="connsiteY4" fmla="*/ 1128200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29068 w 1458798"/>
              <a:gd name="connsiteY4" fmla="*/ 1052753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15118 w 1458798"/>
              <a:gd name="connsiteY4" fmla="*/ 963185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22288 w 1458798"/>
              <a:gd name="connsiteY4" fmla="*/ 981496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04366 w 1458798"/>
              <a:gd name="connsiteY4" fmla="*/ 935718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04366 w 1458798"/>
              <a:gd name="connsiteY4" fmla="*/ 935718 h 3193858"/>
              <a:gd name="connsiteX5" fmla="*/ 379301 w 1458798"/>
              <a:gd name="connsiteY5" fmla="*/ 3116678 h 3193858"/>
              <a:gd name="connsiteX6" fmla="*/ 190233 w 1458798"/>
              <a:gd name="connsiteY6" fmla="*/ 3193858 h 3193858"/>
              <a:gd name="connsiteX0" fmla="*/ 190233 w 1458798"/>
              <a:gd name="connsiteY0" fmla="*/ 3193858 h 3193858"/>
              <a:gd name="connsiteX1" fmla="*/ 105029 w 1458798"/>
              <a:gd name="connsiteY1" fmla="*/ 1053336 h 3193858"/>
              <a:gd name="connsiteX2" fmla="*/ 1374316 w 1458798"/>
              <a:gd name="connsiteY2" fmla="*/ 0 h 3193858"/>
              <a:gd name="connsiteX3" fmla="*/ 1454081 w 1458798"/>
              <a:gd name="connsiteY3" fmla="*/ 239821 h 3193858"/>
              <a:gd name="connsiteX4" fmla="*/ 404366 w 1458798"/>
              <a:gd name="connsiteY4" fmla="*/ 935718 h 3193858"/>
              <a:gd name="connsiteX5" fmla="*/ 379301 w 1458798"/>
              <a:gd name="connsiteY5" fmla="*/ 3116678 h 3193858"/>
              <a:gd name="connsiteX6" fmla="*/ 190233 w 1458798"/>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09282 w 1463714"/>
              <a:gd name="connsiteY4" fmla="*/ 93571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38347 w 1463714"/>
              <a:gd name="connsiteY4" fmla="*/ 956016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38347 w 1463714"/>
              <a:gd name="connsiteY4" fmla="*/ 956016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38347 w 1463714"/>
              <a:gd name="connsiteY4" fmla="*/ 956016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38347 w 1463714"/>
              <a:gd name="connsiteY4" fmla="*/ 956016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19647 w 1463714"/>
              <a:gd name="connsiteY4" fmla="*/ 1016132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423232 w 1463714"/>
              <a:gd name="connsiteY4" fmla="*/ 1025288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371883 w 1463714"/>
              <a:gd name="connsiteY4" fmla="*/ 1055951 h 3193858"/>
              <a:gd name="connsiteX5" fmla="*/ 384217 w 1463714"/>
              <a:gd name="connsiteY5" fmla="*/ 3116678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371883 w 1463714"/>
              <a:gd name="connsiteY4" fmla="*/ 1055951 h 3193858"/>
              <a:gd name="connsiteX5" fmla="*/ 344053 w 1463714"/>
              <a:gd name="connsiteY5" fmla="*/ 3132401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386016 w 1463714"/>
              <a:gd name="connsiteY4" fmla="*/ 985570 h 3193858"/>
              <a:gd name="connsiteX5" fmla="*/ 344053 w 1463714"/>
              <a:gd name="connsiteY5" fmla="*/ 3132401 h 3193858"/>
              <a:gd name="connsiteX6" fmla="*/ 195149 w 1463714"/>
              <a:gd name="connsiteY6" fmla="*/ 3193858 h 3193858"/>
              <a:gd name="connsiteX0" fmla="*/ 195149 w 1463714"/>
              <a:gd name="connsiteY0" fmla="*/ 3193858 h 3193858"/>
              <a:gd name="connsiteX1" fmla="*/ 102776 w 1463714"/>
              <a:gd name="connsiteY1" fmla="*/ 1035024 h 3193858"/>
              <a:gd name="connsiteX2" fmla="*/ 1379232 w 1463714"/>
              <a:gd name="connsiteY2" fmla="*/ 0 h 3193858"/>
              <a:gd name="connsiteX3" fmla="*/ 1458997 w 1463714"/>
              <a:gd name="connsiteY3" fmla="*/ 239821 h 3193858"/>
              <a:gd name="connsiteX4" fmla="*/ 386016 w 1463714"/>
              <a:gd name="connsiteY4" fmla="*/ 985570 h 3193858"/>
              <a:gd name="connsiteX5" fmla="*/ 344053 w 1463714"/>
              <a:gd name="connsiteY5" fmla="*/ 3132401 h 3193858"/>
              <a:gd name="connsiteX6" fmla="*/ 195149 w 1463714"/>
              <a:gd name="connsiteY6" fmla="*/ 3193858 h 3193858"/>
              <a:gd name="connsiteX0" fmla="*/ 195149 w 1448815"/>
              <a:gd name="connsiteY0" fmla="*/ 3193858 h 3193858"/>
              <a:gd name="connsiteX1" fmla="*/ 102776 w 1448815"/>
              <a:gd name="connsiteY1" fmla="*/ 1035024 h 3193858"/>
              <a:gd name="connsiteX2" fmla="*/ 1379232 w 1448815"/>
              <a:gd name="connsiteY2" fmla="*/ 0 h 3193858"/>
              <a:gd name="connsiteX3" fmla="*/ 1443273 w 1448815"/>
              <a:gd name="connsiteY3" fmla="*/ 199658 h 3193858"/>
              <a:gd name="connsiteX4" fmla="*/ 386016 w 1448815"/>
              <a:gd name="connsiteY4" fmla="*/ 985570 h 3193858"/>
              <a:gd name="connsiteX5" fmla="*/ 344053 w 1448815"/>
              <a:gd name="connsiteY5" fmla="*/ 3132401 h 3193858"/>
              <a:gd name="connsiteX6" fmla="*/ 195149 w 1448815"/>
              <a:gd name="connsiteY6" fmla="*/ 3193858 h 3193858"/>
              <a:gd name="connsiteX0" fmla="*/ 195149 w 1448815"/>
              <a:gd name="connsiteY0" fmla="*/ 3193858 h 3193858"/>
              <a:gd name="connsiteX1" fmla="*/ 102776 w 1448815"/>
              <a:gd name="connsiteY1" fmla="*/ 1035024 h 3193858"/>
              <a:gd name="connsiteX2" fmla="*/ 1379232 w 1448815"/>
              <a:gd name="connsiteY2" fmla="*/ 0 h 3193858"/>
              <a:gd name="connsiteX3" fmla="*/ 1443273 w 1448815"/>
              <a:gd name="connsiteY3" fmla="*/ 199658 h 3193858"/>
              <a:gd name="connsiteX4" fmla="*/ 386016 w 1448815"/>
              <a:gd name="connsiteY4" fmla="*/ 985570 h 3193858"/>
              <a:gd name="connsiteX5" fmla="*/ 344053 w 1448815"/>
              <a:gd name="connsiteY5" fmla="*/ 3132401 h 3193858"/>
              <a:gd name="connsiteX6" fmla="*/ 195149 w 1448815"/>
              <a:gd name="connsiteY6" fmla="*/ 3193858 h 3193858"/>
              <a:gd name="connsiteX0" fmla="*/ 195907 w 1450287"/>
              <a:gd name="connsiteY0" fmla="*/ 3179364 h 3179364"/>
              <a:gd name="connsiteX1" fmla="*/ 103534 w 1450287"/>
              <a:gd name="connsiteY1" fmla="*/ 1020530 h 3179364"/>
              <a:gd name="connsiteX2" fmla="*/ 1390296 w 1450287"/>
              <a:gd name="connsiteY2" fmla="*/ 0 h 3179364"/>
              <a:gd name="connsiteX3" fmla="*/ 1444031 w 1450287"/>
              <a:gd name="connsiteY3" fmla="*/ 185164 h 3179364"/>
              <a:gd name="connsiteX4" fmla="*/ 386774 w 1450287"/>
              <a:gd name="connsiteY4" fmla="*/ 971076 h 3179364"/>
              <a:gd name="connsiteX5" fmla="*/ 344811 w 1450287"/>
              <a:gd name="connsiteY5" fmla="*/ 3117907 h 3179364"/>
              <a:gd name="connsiteX6" fmla="*/ 195907 w 1450287"/>
              <a:gd name="connsiteY6" fmla="*/ 3179364 h 3179364"/>
              <a:gd name="connsiteX0" fmla="*/ 181863 w 1436243"/>
              <a:gd name="connsiteY0" fmla="*/ 3179364 h 3179364"/>
              <a:gd name="connsiteX1" fmla="*/ 110272 w 1436243"/>
              <a:gd name="connsiteY1" fmla="*/ 1026289 h 3179364"/>
              <a:gd name="connsiteX2" fmla="*/ 1376252 w 1436243"/>
              <a:gd name="connsiteY2" fmla="*/ 0 h 3179364"/>
              <a:gd name="connsiteX3" fmla="*/ 1429987 w 1436243"/>
              <a:gd name="connsiteY3" fmla="*/ 185164 h 3179364"/>
              <a:gd name="connsiteX4" fmla="*/ 372730 w 1436243"/>
              <a:gd name="connsiteY4" fmla="*/ 971076 h 3179364"/>
              <a:gd name="connsiteX5" fmla="*/ 330767 w 1436243"/>
              <a:gd name="connsiteY5" fmla="*/ 3117907 h 3179364"/>
              <a:gd name="connsiteX6" fmla="*/ 181863 w 1436243"/>
              <a:gd name="connsiteY6" fmla="*/ 3179364 h 3179364"/>
              <a:gd name="connsiteX0" fmla="*/ 181863 w 1436243"/>
              <a:gd name="connsiteY0" fmla="*/ 3179364 h 3179364"/>
              <a:gd name="connsiteX1" fmla="*/ 110272 w 1436243"/>
              <a:gd name="connsiteY1" fmla="*/ 1026289 h 3179364"/>
              <a:gd name="connsiteX2" fmla="*/ 1376252 w 1436243"/>
              <a:gd name="connsiteY2" fmla="*/ 0 h 3179364"/>
              <a:gd name="connsiteX3" fmla="*/ 1429987 w 1436243"/>
              <a:gd name="connsiteY3" fmla="*/ 185164 h 3179364"/>
              <a:gd name="connsiteX4" fmla="*/ 372730 w 1436243"/>
              <a:gd name="connsiteY4" fmla="*/ 971076 h 3179364"/>
              <a:gd name="connsiteX5" fmla="*/ 330767 w 1436243"/>
              <a:gd name="connsiteY5" fmla="*/ 3117907 h 3179364"/>
              <a:gd name="connsiteX6" fmla="*/ 181863 w 1436243"/>
              <a:gd name="connsiteY6" fmla="*/ 3179364 h 3179364"/>
              <a:gd name="connsiteX0" fmla="*/ 181863 w 1436243"/>
              <a:gd name="connsiteY0" fmla="*/ 3179364 h 3179364"/>
              <a:gd name="connsiteX1" fmla="*/ 110272 w 1436243"/>
              <a:gd name="connsiteY1" fmla="*/ 1026289 h 3179364"/>
              <a:gd name="connsiteX2" fmla="*/ 1376252 w 1436243"/>
              <a:gd name="connsiteY2" fmla="*/ 0 h 3179364"/>
              <a:gd name="connsiteX3" fmla="*/ 1429987 w 1436243"/>
              <a:gd name="connsiteY3" fmla="*/ 185164 h 3179364"/>
              <a:gd name="connsiteX4" fmla="*/ 372730 w 1436243"/>
              <a:gd name="connsiteY4" fmla="*/ 971076 h 3179364"/>
              <a:gd name="connsiteX5" fmla="*/ 330767 w 1436243"/>
              <a:gd name="connsiteY5" fmla="*/ 3117907 h 3179364"/>
              <a:gd name="connsiteX6" fmla="*/ 181863 w 1436243"/>
              <a:gd name="connsiteY6" fmla="*/ 3179364 h 3179364"/>
              <a:gd name="connsiteX0" fmla="*/ 135998 w 1479135"/>
              <a:gd name="connsiteY0" fmla="*/ 2940825 h 3119266"/>
              <a:gd name="connsiteX1" fmla="*/ 153164 w 1479135"/>
              <a:gd name="connsiteY1" fmla="*/ 1026289 h 3119266"/>
              <a:gd name="connsiteX2" fmla="*/ 1419144 w 1479135"/>
              <a:gd name="connsiteY2" fmla="*/ 0 h 3119266"/>
              <a:gd name="connsiteX3" fmla="*/ 1472879 w 1479135"/>
              <a:gd name="connsiteY3" fmla="*/ 185164 h 3119266"/>
              <a:gd name="connsiteX4" fmla="*/ 415622 w 1479135"/>
              <a:gd name="connsiteY4" fmla="*/ 971076 h 3119266"/>
              <a:gd name="connsiteX5" fmla="*/ 373659 w 1479135"/>
              <a:gd name="connsiteY5" fmla="*/ 3117907 h 3119266"/>
              <a:gd name="connsiteX6" fmla="*/ 135998 w 1479135"/>
              <a:gd name="connsiteY6" fmla="*/ 2940825 h 3119266"/>
              <a:gd name="connsiteX0" fmla="*/ 135998 w 1479135"/>
              <a:gd name="connsiteY0" fmla="*/ 2940825 h 2940825"/>
              <a:gd name="connsiteX1" fmla="*/ 153164 w 1479135"/>
              <a:gd name="connsiteY1" fmla="*/ 1026289 h 2940825"/>
              <a:gd name="connsiteX2" fmla="*/ 1419144 w 1479135"/>
              <a:gd name="connsiteY2" fmla="*/ 0 h 2940825"/>
              <a:gd name="connsiteX3" fmla="*/ 1472879 w 1479135"/>
              <a:gd name="connsiteY3" fmla="*/ 185164 h 2940825"/>
              <a:gd name="connsiteX4" fmla="*/ 415622 w 1479135"/>
              <a:gd name="connsiteY4" fmla="*/ 971076 h 2940825"/>
              <a:gd name="connsiteX5" fmla="*/ 313016 w 1479135"/>
              <a:gd name="connsiteY5" fmla="*/ 2868362 h 2940825"/>
              <a:gd name="connsiteX6" fmla="*/ 135998 w 1479135"/>
              <a:gd name="connsiteY6" fmla="*/ 2940825 h 2940825"/>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11758 w 1477877"/>
              <a:gd name="connsiteY5" fmla="*/ 286836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14364 w 1477877"/>
              <a:gd name="connsiteY4" fmla="*/ 971076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455741 w 1477877"/>
              <a:gd name="connsiteY4" fmla="*/ 899293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37014 w 1477877"/>
              <a:gd name="connsiteY0" fmla="*/ 2958463 h 2958463"/>
              <a:gd name="connsiteX1" fmla="*/ 151906 w 1477877"/>
              <a:gd name="connsiteY1" fmla="*/ 1026289 h 2958463"/>
              <a:gd name="connsiteX2" fmla="*/ 1417886 w 1477877"/>
              <a:gd name="connsiteY2" fmla="*/ 0 h 2958463"/>
              <a:gd name="connsiteX3" fmla="*/ 1471621 w 1477877"/>
              <a:gd name="connsiteY3" fmla="*/ 185164 h 2958463"/>
              <a:gd name="connsiteX4" fmla="*/ 349760 w 1477877"/>
              <a:gd name="connsiteY4" fmla="*/ 1042688 h 2958463"/>
              <a:gd name="connsiteX5" fmla="*/ 323636 w 1477877"/>
              <a:gd name="connsiteY5" fmla="*/ 2886872 h 2958463"/>
              <a:gd name="connsiteX6" fmla="*/ 137014 w 147787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42174 w 1483037"/>
              <a:gd name="connsiteY0" fmla="*/ 2958463 h 2958463"/>
              <a:gd name="connsiteX1" fmla="*/ 157066 w 1483037"/>
              <a:gd name="connsiteY1" fmla="*/ 1026289 h 2958463"/>
              <a:gd name="connsiteX2" fmla="*/ 1423046 w 1483037"/>
              <a:gd name="connsiteY2" fmla="*/ 0 h 2958463"/>
              <a:gd name="connsiteX3" fmla="*/ 1476781 w 1483037"/>
              <a:gd name="connsiteY3" fmla="*/ 185164 h 2958463"/>
              <a:gd name="connsiteX4" fmla="*/ 354920 w 1483037"/>
              <a:gd name="connsiteY4" fmla="*/ 1042688 h 2958463"/>
              <a:gd name="connsiteX5" fmla="*/ 328796 w 1483037"/>
              <a:gd name="connsiteY5" fmla="*/ 2886872 h 2958463"/>
              <a:gd name="connsiteX6" fmla="*/ 142174 w 1483037"/>
              <a:gd name="connsiteY6" fmla="*/ 2958463 h 2958463"/>
              <a:gd name="connsiteX0" fmla="*/ 135227 w 1480106"/>
              <a:gd name="connsiteY0" fmla="*/ 2960036 h 2960036"/>
              <a:gd name="connsiteX1" fmla="*/ 154135 w 1480106"/>
              <a:gd name="connsiteY1" fmla="*/ 1026289 h 2960036"/>
              <a:gd name="connsiteX2" fmla="*/ 1420115 w 1480106"/>
              <a:gd name="connsiteY2" fmla="*/ 0 h 2960036"/>
              <a:gd name="connsiteX3" fmla="*/ 1473850 w 1480106"/>
              <a:gd name="connsiteY3" fmla="*/ 185164 h 2960036"/>
              <a:gd name="connsiteX4" fmla="*/ 351989 w 1480106"/>
              <a:gd name="connsiteY4" fmla="*/ 1042688 h 2960036"/>
              <a:gd name="connsiteX5" fmla="*/ 325865 w 1480106"/>
              <a:gd name="connsiteY5" fmla="*/ 2886872 h 2960036"/>
              <a:gd name="connsiteX6" fmla="*/ 135227 w 1480106"/>
              <a:gd name="connsiteY6" fmla="*/ 2960036 h 2960036"/>
              <a:gd name="connsiteX0" fmla="*/ 135227 w 1480106"/>
              <a:gd name="connsiteY0" fmla="*/ 2960036 h 2960036"/>
              <a:gd name="connsiteX1" fmla="*/ 154135 w 1480106"/>
              <a:gd name="connsiteY1" fmla="*/ 1026289 h 2960036"/>
              <a:gd name="connsiteX2" fmla="*/ 1420115 w 1480106"/>
              <a:gd name="connsiteY2" fmla="*/ 0 h 2960036"/>
              <a:gd name="connsiteX3" fmla="*/ 1473850 w 1480106"/>
              <a:gd name="connsiteY3" fmla="*/ 185164 h 2960036"/>
              <a:gd name="connsiteX4" fmla="*/ 351989 w 1480106"/>
              <a:gd name="connsiteY4" fmla="*/ 1042688 h 2960036"/>
              <a:gd name="connsiteX5" fmla="*/ 327873 w 1480106"/>
              <a:gd name="connsiteY5" fmla="*/ 2886086 h 2960036"/>
              <a:gd name="connsiteX6" fmla="*/ 135227 w 1480106"/>
              <a:gd name="connsiteY6" fmla="*/ 2960036 h 2960036"/>
              <a:gd name="connsiteX0" fmla="*/ 135227 w 1480106"/>
              <a:gd name="connsiteY0" fmla="*/ 2960036 h 2960036"/>
              <a:gd name="connsiteX1" fmla="*/ 154135 w 1480106"/>
              <a:gd name="connsiteY1" fmla="*/ 1026289 h 2960036"/>
              <a:gd name="connsiteX2" fmla="*/ 1420115 w 1480106"/>
              <a:gd name="connsiteY2" fmla="*/ 0 h 2960036"/>
              <a:gd name="connsiteX3" fmla="*/ 1473850 w 1480106"/>
              <a:gd name="connsiteY3" fmla="*/ 185164 h 2960036"/>
              <a:gd name="connsiteX4" fmla="*/ 351989 w 1480106"/>
              <a:gd name="connsiteY4" fmla="*/ 1042688 h 2960036"/>
              <a:gd name="connsiteX5" fmla="*/ 333897 w 1480106"/>
              <a:gd name="connsiteY5" fmla="*/ 2883727 h 2960036"/>
              <a:gd name="connsiteX6" fmla="*/ 135227 w 1480106"/>
              <a:gd name="connsiteY6" fmla="*/ 2960036 h 2960036"/>
              <a:gd name="connsiteX0" fmla="*/ 135227 w 1480106"/>
              <a:gd name="connsiteY0" fmla="*/ 2960036 h 2960036"/>
              <a:gd name="connsiteX1" fmla="*/ 154135 w 1480106"/>
              <a:gd name="connsiteY1" fmla="*/ 1026289 h 2960036"/>
              <a:gd name="connsiteX2" fmla="*/ 1420115 w 1480106"/>
              <a:gd name="connsiteY2" fmla="*/ 0 h 2960036"/>
              <a:gd name="connsiteX3" fmla="*/ 1473850 w 1480106"/>
              <a:gd name="connsiteY3" fmla="*/ 185164 h 2960036"/>
              <a:gd name="connsiteX4" fmla="*/ 351989 w 1480106"/>
              <a:gd name="connsiteY4" fmla="*/ 1042688 h 2960036"/>
              <a:gd name="connsiteX5" fmla="*/ 332675 w 1480106"/>
              <a:gd name="connsiteY5" fmla="*/ 2886521 h 2960036"/>
              <a:gd name="connsiteX6" fmla="*/ 135227 w 1480106"/>
              <a:gd name="connsiteY6" fmla="*/ 2960036 h 296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0106" h="2960036">
                <a:moveTo>
                  <a:pt x="135227" y="2960036"/>
                </a:moveTo>
                <a:cubicBezTo>
                  <a:pt x="-36425" y="2556460"/>
                  <a:pt x="-60013" y="1519628"/>
                  <a:pt x="154135" y="1026289"/>
                </a:cubicBezTo>
                <a:cubicBezTo>
                  <a:pt x="368283" y="532950"/>
                  <a:pt x="905370" y="213842"/>
                  <a:pt x="1420115" y="0"/>
                </a:cubicBezTo>
                <a:cubicBezTo>
                  <a:pt x="1439518" y="82753"/>
                  <a:pt x="1499440" y="122086"/>
                  <a:pt x="1473850" y="185164"/>
                </a:cubicBezTo>
                <a:cubicBezTo>
                  <a:pt x="1025053" y="377814"/>
                  <a:pt x="921245" y="410535"/>
                  <a:pt x="351989" y="1042688"/>
                </a:cubicBezTo>
                <a:cubicBezTo>
                  <a:pt x="151246" y="1554589"/>
                  <a:pt x="109937" y="2052630"/>
                  <a:pt x="332675" y="2886521"/>
                </a:cubicBezTo>
                <a:lnTo>
                  <a:pt x="135227" y="2960036"/>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419" name="Block Arc 418">
            <a:extLst>
              <a:ext uri="{FF2B5EF4-FFF2-40B4-BE49-F238E27FC236}">
                <a16:creationId xmlns:a16="http://schemas.microsoft.com/office/drawing/2014/main" id="{7BF909C8-ED7B-4633-AE93-AD6B16079913}"/>
              </a:ext>
            </a:extLst>
          </p:cNvPr>
          <p:cNvSpPr/>
          <p:nvPr/>
        </p:nvSpPr>
        <p:spPr bwMode="auto">
          <a:xfrm rot="6786218">
            <a:off x="5826560" y="1075123"/>
            <a:ext cx="718282" cy="3723762"/>
          </a:xfrm>
          <a:custGeom>
            <a:avLst/>
            <a:gdLst>
              <a:gd name="connsiteX0" fmla="*/ 84028 w 2184566"/>
              <a:gd name="connsiteY0" fmla="*/ 1481678 h 2140180"/>
              <a:gd name="connsiteX1" fmla="*/ 327043 w 2184566"/>
              <a:gd name="connsiteY1" fmla="*/ 306509 h 2140180"/>
              <a:gd name="connsiteX2" fmla="*/ 1495710 w 2184566"/>
              <a:gd name="connsiteY2" fmla="*/ 75662 h 2140180"/>
              <a:gd name="connsiteX3" fmla="*/ 1418940 w 2184566"/>
              <a:gd name="connsiteY3" fmla="*/ 264897 h 2140180"/>
              <a:gd name="connsiteX4" fmla="*/ 471615 w 2184566"/>
              <a:gd name="connsiteY4" fmla="*/ 450769 h 2140180"/>
              <a:gd name="connsiteX5" fmla="*/ 273096 w 2184566"/>
              <a:gd name="connsiteY5" fmla="*/ 1404498 h 2140180"/>
              <a:gd name="connsiteX6" fmla="*/ 84028 w 2184566"/>
              <a:gd name="connsiteY6" fmla="*/ 1481678 h 2140180"/>
              <a:gd name="connsiteX0" fmla="*/ 551722 w 1963404"/>
              <a:gd name="connsiteY0" fmla="*/ 1889312 h 1889312"/>
              <a:gd name="connsiteX1" fmla="*/ 90838 w 1963404"/>
              <a:gd name="connsiteY1" fmla="*/ 88084 h 1889312"/>
              <a:gd name="connsiteX2" fmla="*/ 1963404 w 1963404"/>
              <a:gd name="connsiteY2" fmla="*/ 483296 h 1889312"/>
              <a:gd name="connsiteX3" fmla="*/ 1886634 w 1963404"/>
              <a:gd name="connsiteY3" fmla="*/ 672531 h 1889312"/>
              <a:gd name="connsiteX4" fmla="*/ 939309 w 1963404"/>
              <a:gd name="connsiteY4" fmla="*/ 858403 h 1889312"/>
              <a:gd name="connsiteX5" fmla="*/ 740790 w 1963404"/>
              <a:gd name="connsiteY5" fmla="*/ 1812132 h 1889312"/>
              <a:gd name="connsiteX6" fmla="*/ 551722 w 1963404"/>
              <a:gd name="connsiteY6" fmla="*/ 1889312 h 1889312"/>
              <a:gd name="connsiteX0" fmla="*/ 551722 w 1963404"/>
              <a:gd name="connsiteY0" fmla="*/ 1889312 h 1889312"/>
              <a:gd name="connsiteX1" fmla="*/ 90838 w 1963404"/>
              <a:gd name="connsiteY1" fmla="*/ 88084 h 1889312"/>
              <a:gd name="connsiteX2" fmla="*/ 1963404 w 1963404"/>
              <a:gd name="connsiteY2" fmla="*/ 483296 h 1889312"/>
              <a:gd name="connsiteX3" fmla="*/ 1886634 w 1963404"/>
              <a:gd name="connsiteY3" fmla="*/ 672531 h 1889312"/>
              <a:gd name="connsiteX4" fmla="*/ 393417 w 1963404"/>
              <a:gd name="connsiteY4" fmla="*/ 390876 h 1889312"/>
              <a:gd name="connsiteX5" fmla="*/ 740790 w 1963404"/>
              <a:gd name="connsiteY5" fmla="*/ 1812132 h 1889312"/>
              <a:gd name="connsiteX6" fmla="*/ 551722 w 1963404"/>
              <a:gd name="connsiteY6" fmla="*/ 1889312 h 1889312"/>
              <a:gd name="connsiteX0" fmla="*/ 551722 w 1963404"/>
              <a:gd name="connsiteY0" fmla="*/ 1889312 h 1889312"/>
              <a:gd name="connsiteX1" fmla="*/ 90838 w 1963404"/>
              <a:gd name="connsiteY1" fmla="*/ 88084 h 1889312"/>
              <a:gd name="connsiteX2" fmla="*/ 1963404 w 1963404"/>
              <a:gd name="connsiteY2" fmla="*/ 483296 h 1889312"/>
              <a:gd name="connsiteX3" fmla="*/ 1886634 w 1963404"/>
              <a:gd name="connsiteY3" fmla="*/ 672531 h 1889312"/>
              <a:gd name="connsiteX4" fmla="*/ 393417 w 1963404"/>
              <a:gd name="connsiteY4" fmla="*/ 390876 h 1889312"/>
              <a:gd name="connsiteX5" fmla="*/ 740790 w 1963404"/>
              <a:gd name="connsiteY5" fmla="*/ 1812132 h 1889312"/>
              <a:gd name="connsiteX6" fmla="*/ 551722 w 1963404"/>
              <a:gd name="connsiteY6" fmla="*/ 1889312 h 1889312"/>
              <a:gd name="connsiteX0" fmla="*/ 495098 w 1830010"/>
              <a:gd name="connsiteY0" fmla="*/ 3112497 h 3112497"/>
              <a:gd name="connsiteX1" fmla="*/ 34214 w 1830010"/>
              <a:gd name="connsiteY1" fmla="*/ 1311269 h 3112497"/>
              <a:gd name="connsiteX2" fmla="*/ 305050 w 1830010"/>
              <a:gd name="connsiteY2" fmla="*/ 17434 h 3112497"/>
              <a:gd name="connsiteX3" fmla="*/ 1830010 w 1830010"/>
              <a:gd name="connsiteY3" fmla="*/ 1895716 h 3112497"/>
              <a:gd name="connsiteX4" fmla="*/ 336793 w 1830010"/>
              <a:gd name="connsiteY4" fmla="*/ 1614061 h 3112497"/>
              <a:gd name="connsiteX5" fmla="*/ 684166 w 1830010"/>
              <a:gd name="connsiteY5" fmla="*/ 3035317 h 3112497"/>
              <a:gd name="connsiteX6" fmla="*/ 495098 w 1830010"/>
              <a:gd name="connsiteY6" fmla="*/ 3112497 h 3112497"/>
              <a:gd name="connsiteX0" fmla="*/ 481741 w 1816653"/>
              <a:gd name="connsiteY0" fmla="*/ 3095063 h 3095063"/>
              <a:gd name="connsiteX1" fmla="*/ 20857 w 1816653"/>
              <a:gd name="connsiteY1" fmla="*/ 1293835 h 3095063"/>
              <a:gd name="connsiteX2" fmla="*/ 291693 w 1816653"/>
              <a:gd name="connsiteY2" fmla="*/ 0 h 3095063"/>
              <a:gd name="connsiteX3" fmla="*/ 1816653 w 1816653"/>
              <a:gd name="connsiteY3" fmla="*/ 1878282 h 3095063"/>
              <a:gd name="connsiteX4" fmla="*/ 323436 w 1816653"/>
              <a:gd name="connsiteY4" fmla="*/ 1596627 h 3095063"/>
              <a:gd name="connsiteX5" fmla="*/ 670809 w 1816653"/>
              <a:gd name="connsiteY5" fmla="*/ 3017883 h 3095063"/>
              <a:gd name="connsiteX6" fmla="*/ 481741 w 1816653"/>
              <a:gd name="connsiteY6" fmla="*/ 3095063 h 3095063"/>
              <a:gd name="connsiteX0" fmla="*/ 481741 w 1816653"/>
              <a:gd name="connsiteY0" fmla="*/ 3117965 h 3117965"/>
              <a:gd name="connsiteX1" fmla="*/ 20857 w 1816653"/>
              <a:gd name="connsiteY1" fmla="*/ 1316737 h 3117965"/>
              <a:gd name="connsiteX2" fmla="*/ 291693 w 1816653"/>
              <a:gd name="connsiteY2" fmla="*/ 22902 h 3117965"/>
              <a:gd name="connsiteX3" fmla="*/ 1816653 w 1816653"/>
              <a:gd name="connsiteY3" fmla="*/ 1901184 h 3117965"/>
              <a:gd name="connsiteX4" fmla="*/ 323436 w 1816653"/>
              <a:gd name="connsiteY4" fmla="*/ 1619529 h 3117965"/>
              <a:gd name="connsiteX5" fmla="*/ 670809 w 1816653"/>
              <a:gd name="connsiteY5" fmla="*/ 3040785 h 3117965"/>
              <a:gd name="connsiteX6" fmla="*/ 481741 w 1816653"/>
              <a:gd name="connsiteY6" fmla="*/ 3117965 h 3117965"/>
              <a:gd name="connsiteX0" fmla="*/ 481741 w 879625"/>
              <a:gd name="connsiteY0" fmla="*/ 3594170 h 3594170"/>
              <a:gd name="connsiteX1" fmla="*/ 20857 w 879625"/>
              <a:gd name="connsiteY1" fmla="*/ 1792942 h 3594170"/>
              <a:gd name="connsiteX2" fmla="*/ 291693 w 879625"/>
              <a:gd name="connsiteY2" fmla="*/ 499107 h 3594170"/>
              <a:gd name="connsiteX3" fmla="*/ 879625 w 879625"/>
              <a:gd name="connsiteY3" fmla="*/ 269210 h 3594170"/>
              <a:gd name="connsiteX4" fmla="*/ 323436 w 879625"/>
              <a:gd name="connsiteY4" fmla="*/ 2095734 h 3594170"/>
              <a:gd name="connsiteX5" fmla="*/ 670809 w 879625"/>
              <a:gd name="connsiteY5" fmla="*/ 3516990 h 3594170"/>
              <a:gd name="connsiteX6" fmla="*/ 481741 w 879625"/>
              <a:gd name="connsiteY6" fmla="*/ 3594170 h 3594170"/>
              <a:gd name="connsiteX0" fmla="*/ 481741 w 879625"/>
              <a:gd name="connsiteY0" fmla="*/ 3594170 h 3594170"/>
              <a:gd name="connsiteX1" fmla="*/ 20857 w 879625"/>
              <a:gd name="connsiteY1" fmla="*/ 1792942 h 3594170"/>
              <a:gd name="connsiteX2" fmla="*/ 291693 w 879625"/>
              <a:gd name="connsiteY2" fmla="*/ 499107 h 3594170"/>
              <a:gd name="connsiteX3" fmla="*/ 879625 w 879625"/>
              <a:gd name="connsiteY3" fmla="*/ 269210 h 3594170"/>
              <a:gd name="connsiteX4" fmla="*/ 323436 w 879625"/>
              <a:gd name="connsiteY4" fmla="*/ 2095734 h 3594170"/>
              <a:gd name="connsiteX5" fmla="*/ 670809 w 879625"/>
              <a:gd name="connsiteY5" fmla="*/ 3516990 h 3594170"/>
              <a:gd name="connsiteX6" fmla="*/ 481741 w 879625"/>
              <a:gd name="connsiteY6" fmla="*/ 3594170 h 3594170"/>
              <a:gd name="connsiteX0" fmla="*/ 460928 w 858812"/>
              <a:gd name="connsiteY0" fmla="*/ 3656439 h 3656439"/>
              <a:gd name="connsiteX1" fmla="*/ 44 w 858812"/>
              <a:gd name="connsiteY1" fmla="*/ 1855211 h 3656439"/>
              <a:gd name="connsiteX2" fmla="*/ 485910 w 858812"/>
              <a:gd name="connsiteY2" fmla="*/ 341610 h 3656439"/>
              <a:gd name="connsiteX3" fmla="*/ 858812 w 858812"/>
              <a:gd name="connsiteY3" fmla="*/ 331479 h 3656439"/>
              <a:gd name="connsiteX4" fmla="*/ 302623 w 858812"/>
              <a:gd name="connsiteY4" fmla="*/ 2158003 h 3656439"/>
              <a:gd name="connsiteX5" fmla="*/ 649996 w 858812"/>
              <a:gd name="connsiteY5" fmla="*/ 3579259 h 3656439"/>
              <a:gd name="connsiteX6" fmla="*/ 460928 w 858812"/>
              <a:gd name="connsiteY6" fmla="*/ 3656439 h 3656439"/>
              <a:gd name="connsiteX0" fmla="*/ 460928 w 858812"/>
              <a:gd name="connsiteY0" fmla="*/ 3634488 h 3634488"/>
              <a:gd name="connsiteX1" fmla="*/ 44 w 858812"/>
              <a:gd name="connsiteY1" fmla="*/ 1833260 h 3634488"/>
              <a:gd name="connsiteX2" fmla="*/ 485910 w 858812"/>
              <a:gd name="connsiteY2" fmla="*/ 319659 h 3634488"/>
              <a:gd name="connsiteX3" fmla="*/ 858812 w 858812"/>
              <a:gd name="connsiteY3" fmla="*/ 309528 h 3634488"/>
              <a:gd name="connsiteX4" fmla="*/ 302623 w 858812"/>
              <a:gd name="connsiteY4" fmla="*/ 2136052 h 3634488"/>
              <a:gd name="connsiteX5" fmla="*/ 649996 w 858812"/>
              <a:gd name="connsiteY5" fmla="*/ 3557308 h 3634488"/>
              <a:gd name="connsiteX6" fmla="*/ 460928 w 858812"/>
              <a:gd name="connsiteY6" fmla="*/ 3634488 h 3634488"/>
              <a:gd name="connsiteX0" fmla="*/ 460928 w 796292"/>
              <a:gd name="connsiteY0" fmla="*/ 3741319 h 3741319"/>
              <a:gd name="connsiteX1" fmla="*/ 44 w 796292"/>
              <a:gd name="connsiteY1" fmla="*/ 1940091 h 3741319"/>
              <a:gd name="connsiteX2" fmla="*/ 485910 w 796292"/>
              <a:gd name="connsiteY2" fmla="*/ 426490 h 3741319"/>
              <a:gd name="connsiteX3" fmla="*/ 796292 w 796292"/>
              <a:gd name="connsiteY3" fmla="*/ 269810 h 3741319"/>
              <a:gd name="connsiteX4" fmla="*/ 302623 w 796292"/>
              <a:gd name="connsiteY4" fmla="*/ 2242883 h 3741319"/>
              <a:gd name="connsiteX5" fmla="*/ 649996 w 796292"/>
              <a:gd name="connsiteY5" fmla="*/ 3664139 h 3741319"/>
              <a:gd name="connsiteX6" fmla="*/ 460928 w 796292"/>
              <a:gd name="connsiteY6" fmla="*/ 3741319 h 3741319"/>
              <a:gd name="connsiteX0" fmla="*/ 460928 w 796292"/>
              <a:gd name="connsiteY0" fmla="*/ 3471509 h 3471509"/>
              <a:gd name="connsiteX1" fmla="*/ 44 w 796292"/>
              <a:gd name="connsiteY1" fmla="*/ 1670281 h 3471509"/>
              <a:gd name="connsiteX2" fmla="*/ 485910 w 796292"/>
              <a:gd name="connsiteY2" fmla="*/ 156680 h 3471509"/>
              <a:gd name="connsiteX3" fmla="*/ 796292 w 796292"/>
              <a:gd name="connsiteY3" fmla="*/ 0 h 3471509"/>
              <a:gd name="connsiteX4" fmla="*/ 302623 w 796292"/>
              <a:gd name="connsiteY4" fmla="*/ 1973073 h 3471509"/>
              <a:gd name="connsiteX5" fmla="*/ 649996 w 796292"/>
              <a:gd name="connsiteY5" fmla="*/ 3394329 h 3471509"/>
              <a:gd name="connsiteX6" fmla="*/ 460928 w 796292"/>
              <a:gd name="connsiteY6" fmla="*/ 3471509 h 3471509"/>
              <a:gd name="connsiteX0" fmla="*/ 460928 w 743535"/>
              <a:gd name="connsiteY0" fmla="*/ 3471596 h 3471596"/>
              <a:gd name="connsiteX1" fmla="*/ 44 w 743535"/>
              <a:gd name="connsiteY1" fmla="*/ 1670368 h 3471596"/>
              <a:gd name="connsiteX2" fmla="*/ 485910 w 743535"/>
              <a:gd name="connsiteY2" fmla="*/ 156767 h 3471596"/>
              <a:gd name="connsiteX3" fmla="*/ 743535 w 743535"/>
              <a:gd name="connsiteY3" fmla="*/ 0 h 3471596"/>
              <a:gd name="connsiteX4" fmla="*/ 302623 w 743535"/>
              <a:gd name="connsiteY4" fmla="*/ 1973160 h 3471596"/>
              <a:gd name="connsiteX5" fmla="*/ 649996 w 743535"/>
              <a:gd name="connsiteY5" fmla="*/ 3394416 h 3471596"/>
              <a:gd name="connsiteX6" fmla="*/ 460928 w 743535"/>
              <a:gd name="connsiteY6" fmla="*/ 3471596 h 3471596"/>
              <a:gd name="connsiteX0" fmla="*/ 460928 w 743535"/>
              <a:gd name="connsiteY0" fmla="*/ 3471596 h 3471596"/>
              <a:gd name="connsiteX1" fmla="*/ 44 w 743535"/>
              <a:gd name="connsiteY1" fmla="*/ 1670368 h 3471596"/>
              <a:gd name="connsiteX2" fmla="*/ 485910 w 743535"/>
              <a:gd name="connsiteY2" fmla="*/ 156767 h 3471596"/>
              <a:gd name="connsiteX3" fmla="*/ 743535 w 743535"/>
              <a:gd name="connsiteY3" fmla="*/ 0 h 3471596"/>
              <a:gd name="connsiteX4" fmla="*/ 302623 w 743535"/>
              <a:gd name="connsiteY4" fmla="*/ 1973160 h 3471596"/>
              <a:gd name="connsiteX5" fmla="*/ 649996 w 743535"/>
              <a:gd name="connsiteY5" fmla="*/ 3394416 h 3471596"/>
              <a:gd name="connsiteX6" fmla="*/ 460928 w 743535"/>
              <a:gd name="connsiteY6" fmla="*/ 3471596 h 3471596"/>
              <a:gd name="connsiteX0" fmla="*/ 460928 w 743535"/>
              <a:gd name="connsiteY0" fmla="*/ 3471596 h 3471596"/>
              <a:gd name="connsiteX1" fmla="*/ 44 w 743535"/>
              <a:gd name="connsiteY1" fmla="*/ 1670368 h 3471596"/>
              <a:gd name="connsiteX2" fmla="*/ 485910 w 743535"/>
              <a:gd name="connsiteY2" fmla="*/ 156767 h 3471596"/>
              <a:gd name="connsiteX3" fmla="*/ 743535 w 743535"/>
              <a:gd name="connsiteY3" fmla="*/ 0 h 3471596"/>
              <a:gd name="connsiteX4" fmla="*/ 302623 w 743535"/>
              <a:gd name="connsiteY4" fmla="*/ 1973160 h 3471596"/>
              <a:gd name="connsiteX5" fmla="*/ 649996 w 743535"/>
              <a:gd name="connsiteY5" fmla="*/ 3394416 h 3471596"/>
              <a:gd name="connsiteX6" fmla="*/ 460928 w 743535"/>
              <a:gd name="connsiteY6" fmla="*/ 3471596 h 3471596"/>
              <a:gd name="connsiteX0" fmla="*/ 460928 w 743535"/>
              <a:gd name="connsiteY0" fmla="*/ 3471596 h 3471596"/>
              <a:gd name="connsiteX1" fmla="*/ 44 w 743535"/>
              <a:gd name="connsiteY1" fmla="*/ 1670368 h 3471596"/>
              <a:gd name="connsiteX2" fmla="*/ 485910 w 743535"/>
              <a:gd name="connsiteY2" fmla="*/ 156767 h 3471596"/>
              <a:gd name="connsiteX3" fmla="*/ 743535 w 743535"/>
              <a:gd name="connsiteY3" fmla="*/ 0 h 3471596"/>
              <a:gd name="connsiteX4" fmla="*/ 302623 w 743535"/>
              <a:gd name="connsiteY4" fmla="*/ 1973160 h 3471596"/>
              <a:gd name="connsiteX5" fmla="*/ 649996 w 743535"/>
              <a:gd name="connsiteY5" fmla="*/ 3394416 h 3471596"/>
              <a:gd name="connsiteX6" fmla="*/ 460928 w 743535"/>
              <a:gd name="connsiteY6" fmla="*/ 3471596 h 3471596"/>
              <a:gd name="connsiteX0" fmla="*/ 461345 w 743952"/>
              <a:gd name="connsiteY0" fmla="*/ 3471596 h 3471596"/>
              <a:gd name="connsiteX1" fmla="*/ 461 w 743952"/>
              <a:gd name="connsiteY1" fmla="*/ 1670368 h 3471596"/>
              <a:gd name="connsiteX2" fmla="*/ 544696 w 743952"/>
              <a:gd name="connsiteY2" fmla="*/ 64085 h 3471596"/>
              <a:gd name="connsiteX3" fmla="*/ 743952 w 743952"/>
              <a:gd name="connsiteY3" fmla="*/ 0 h 3471596"/>
              <a:gd name="connsiteX4" fmla="*/ 303040 w 743952"/>
              <a:gd name="connsiteY4" fmla="*/ 1973160 h 3471596"/>
              <a:gd name="connsiteX5" fmla="*/ 650413 w 743952"/>
              <a:gd name="connsiteY5" fmla="*/ 3394416 h 3471596"/>
              <a:gd name="connsiteX6" fmla="*/ 461345 w 743952"/>
              <a:gd name="connsiteY6" fmla="*/ 3471596 h 3471596"/>
              <a:gd name="connsiteX0" fmla="*/ 461345 w 743952"/>
              <a:gd name="connsiteY0" fmla="*/ 3471596 h 3471596"/>
              <a:gd name="connsiteX1" fmla="*/ 461 w 743952"/>
              <a:gd name="connsiteY1" fmla="*/ 1670368 h 3471596"/>
              <a:gd name="connsiteX2" fmla="*/ 544696 w 743952"/>
              <a:gd name="connsiteY2" fmla="*/ 64085 h 3471596"/>
              <a:gd name="connsiteX3" fmla="*/ 743952 w 743952"/>
              <a:gd name="connsiteY3" fmla="*/ 0 h 3471596"/>
              <a:gd name="connsiteX4" fmla="*/ 303040 w 743952"/>
              <a:gd name="connsiteY4" fmla="*/ 1973160 h 3471596"/>
              <a:gd name="connsiteX5" fmla="*/ 650413 w 743952"/>
              <a:gd name="connsiteY5" fmla="*/ 3394416 h 3471596"/>
              <a:gd name="connsiteX6" fmla="*/ 461345 w 743952"/>
              <a:gd name="connsiteY6" fmla="*/ 3471596 h 3471596"/>
              <a:gd name="connsiteX0" fmla="*/ 461345 w 721271"/>
              <a:gd name="connsiteY0" fmla="*/ 3507108 h 3507108"/>
              <a:gd name="connsiteX1" fmla="*/ 461 w 721271"/>
              <a:gd name="connsiteY1" fmla="*/ 1705880 h 3507108"/>
              <a:gd name="connsiteX2" fmla="*/ 544696 w 721271"/>
              <a:gd name="connsiteY2" fmla="*/ 99597 h 3507108"/>
              <a:gd name="connsiteX3" fmla="*/ 721271 w 721271"/>
              <a:gd name="connsiteY3" fmla="*/ 0 h 3507108"/>
              <a:gd name="connsiteX4" fmla="*/ 303040 w 721271"/>
              <a:gd name="connsiteY4" fmla="*/ 2008672 h 3507108"/>
              <a:gd name="connsiteX5" fmla="*/ 650413 w 721271"/>
              <a:gd name="connsiteY5" fmla="*/ 3429928 h 3507108"/>
              <a:gd name="connsiteX6" fmla="*/ 461345 w 721271"/>
              <a:gd name="connsiteY6" fmla="*/ 3507108 h 3507108"/>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303040 w 726707"/>
              <a:gd name="connsiteY4" fmla="*/ 1995929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410450 w 726707"/>
              <a:gd name="connsiteY4" fmla="*/ 1400321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410450 w 726707"/>
              <a:gd name="connsiteY4" fmla="*/ 1400321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410450 w 726707"/>
              <a:gd name="connsiteY4" fmla="*/ 1400321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345886 w 726707"/>
              <a:gd name="connsiteY4" fmla="*/ 1390208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345886 w 726707"/>
              <a:gd name="connsiteY4" fmla="*/ 1390208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313940 w 726707"/>
              <a:gd name="connsiteY4" fmla="*/ 1456555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284039 w 726707"/>
              <a:gd name="connsiteY4" fmla="*/ 1386467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284039 w 726707"/>
              <a:gd name="connsiteY4" fmla="*/ 1386467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284039 w 726707"/>
              <a:gd name="connsiteY4" fmla="*/ 1386467 h 3494365"/>
              <a:gd name="connsiteX5" fmla="*/ 650413 w 726707"/>
              <a:gd name="connsiteY5" fmla="*/ 3417185 h 3494365"/>
              <a:gd name="connsiteX6" fmla="*/ 461345 w 726707"/>
              <a:gd name="connsiteY6" fmla="*/ 3494365 h 3494365"/>
              <a:gd name="connsiteX0" fmla="*/ 461345 w 726707"/>
              <a:gd name="connsiteY0" fmla="*/ 3494365 h 3494365"/>
              <a:gd name="connsiteX1" fmla="*/ 461 w 726707"/>
              <a:gd name="connsiteY1" fmla="*/ 1693137 h 3494365"/>
              <a:gd name="connsiteX2" fmla="*/ 544696 w 726707"/>
              <a:gd name="connsiteY2" fmla="*/ 86854 h 3494365"/>
              <a:gd name="connsiteX3" fmla="*/ 726707 w 726707"/>
              <a:gd name="connsiteY3" fmla="*/ 0 h 3494365"/>
              <a:gd name="connsiteX4" fmla="*/ 284039 w 726707"/>
              <a:gd name="connsiteY4" fmla="*/ 1386467 h 3494365"/>
              <a:gd name="connsiteX5" fmla="*/ 650413 w 726707"/>
              <a:gd name="connsiteY5" fmla="*/ 3417185 h 3494365"/>
              <a:gd name="connsiteX6" fmla="*/ 461345 w 726707"/>
              <a:gd name="connsiteY6" fmla="*/ 3494365 h 3494365"/>
              <a:gd name="connsiteX0" fmla="*/ 461290 w 726652"/>
              <a:gd name="connsiteY0" fmla="*/ 3494365 h 3494365"/>
              <a:gd name="connsiteX1" fmla="*/ 406 w 726652"/>
              <a:gd name="connsiteY1" fmla="*/ 1693137 h 3494365"/>
              <a:gd name="connsiteX2" fmla="*/ 539204 w 726652"/>
              <a:gd name="connsiteY2" fmla="*/ 74110 h 3494365"/>
              <a:gd name="connsiteX3" fmla="*/ 726652 w 726652"/>
              <a:gd name="connsiteY3" fmla="*/ 0 h 3494365"/>
              <a:gd name="connsiteX4" fmla="*/ 283984 w 726652"/>
              <a:gd name="connsiteY4" fmla="*/ 1386467 h 3494365"/>
              <a:gd name="connsiteX5" fmla="*/ 650358 w 726652"/>
              <a:gd name="connsiteY5" fmla="*/ 3417185 h 3494365"/>
              <a:gd name="connsiteX6" fmla="*/ 461290 w 726652"/>
              <a:gd name="connsiteY6" fmla="*/ 3494365 h 3494365"/>
              <a:gd name="connsiteX0" fmla="*/ 461290 w 739306"/>
              <a:gd name="connsiteY0" fmla="*/ 3449968 h 3449968"/>
              <a:gd name="connsiteX1" fmla="*/ 406 w 739306"/>
              <a:gd name="connsiteY1" fmla="*/ 1648740 h 3449968"/>
              <a:gd name="connsiteX2" fmla="*/ 539204 w 739306"/>
              <a:gd name="connsiteY2" fmla="*/ 29713 h 3449968"/>
              <a:gd name="connsiteX3" fmla="*/ 739306 w 739306"/>
              <a:gd name="connsiteY3" fmla="*/ 110548 h 3449968"/>
              <a:gd name="connsiteX4" fmla="*/ 283984 w 739306"/>
              <a:gd name="connsiteY4" fmla="*/ 1342070 h 3449968"/>
              <a:gd name="connsiteX5" fmla="*/ 650358 w 739306"/>
              <a:gd name="connsiteY5" fmla="*/ 3372788 h 3449968"/>
              <a:gd name="connsiteX6" fmla="*/ 461290 w 739306"/>
              <a:gd name="connsiteY6" fmla="*/ 3449968 h 3449968"/>
              <a:gd name="connsiteX0" fmla="*/ 461290 w 739306"/>
              <a:gd name="connsiteY0" fmla="*/ 3449968 h 3449968"/>
              <a:gd name="connsiteX1" fmla="*/ 406 w 739306"/>
              <a:gd name="connsiteY1" fmla="*/ 1648740 h 3449968"/>
              <a:gd name="connsiteX2" fmla="*/ 539204 w 739306"/>
              <a:gd name="connsiteY2" fmla="*/ 29713 h 3449968"/>
              <a:gd name="connsiteX3" fmla="*/ 739306 w 739306"/>
              <a:gd name="connsiteY3" fmla="*/ 110548 h 3449968"/>
              <a:gd name="connsiteX4" fmla="*/ 283984 w 739306"/>
              <a:gd name="connsiteY4" fmla="*/ 1342070 h 3449968"/>
              <a:gd name="connsiteX5" fmla="*/ 650358 w 739306"/>
              <a:gd name="connsiteY5" fmla="*/ 3372788 h 3449968"/>
              <a:gd name="connsiteX6" fmla="*/ 461290 w 739306"/>
              <a:gd name="connsiteY6" fmla="*/ 3449968 h 3449968"/>
              <a:gd name="connsiteX0" fmla="*/ 461290 w 739306"/>
              <a:gd name="connsiteY0" fmla="*/ 3459901 h 3459901"/>
              <a:gd name="connsiteX1" fmla="*/ 406 w 739306"/>
              <a:gd name="connsiteY1" fmla="*/ 1658673 h 3459901"/>
              <a:gd name="connsiteX2" fmla="*/ 539204 w 739306"/>
              <a:gd name="connsiteY2" fmla="*/ 39646 h 3459901"/>
              <a:gd name="connsiteX3" fmla="*/ 739306 w 739306"/>
              <a:gd name="connsiteY3" fmla="*/ 120481 h 3459901"/>
              <a:gd name="connsiteX4" fmla="*/ 283984 w 739306"/>
              <a:gd name="connsiteY4" fmla="*/ 1352003 h 3459901"/>
              <a:gd name="connsiteX5" fmla="*/ 650358 w 739306"/>
              <a:gd name="connsiteY5" fmla="*/ 3382721 h 3459901"/>
              <a:gd name="connsiteX6" fmla="*/ 461290 w 739306"/>
              <a:gd name="connsiteY6" fmla="*/ 3459901 h 3459901"/>
              <a:gd name="connsiteX0" fmla="*/ 461290 w 1158557"/>
              <a:gd name="connsiteY0" fmla="*/ 3459901 h 3459901"/>
              <a:gd name="connsiteX1" fmla="*/ 406 w 1158557"/>
              <a:gd name="connsiteY1" fmla="*/ 1658673 h 3459901"/>
              <a:gd name="connsiteX2" fmla="*/ 539204 w 1158557"/>
              <a:gd name="connsiteY2" fmla="*/ 39646 h 3459901"/>
              <a:gd name="connsiteX3" fmla="*/ 739306 w 1158557"/>
              <a:gd name="connsiteY3" fmla="*/ 120481 h 3459901"/>
              <a:gd name="connsiteX4" fmla="*/ 283984 w 1158557"/>
              <a:gd name="connsiteY4" fmla="*/ 1352003 h 3459901"/>
              <a:gd name="connsiteX5" fmla="*/ 1158557 w 1158557"/>
              <a:gd name="connsiteY5" fmla="*/ 3159665 h 3459901"/>
              <a:gd name="connsiteX6" fmla="*/ 461290 w 1158557"/>
              <a:gd name="connsiteY6" fmla="*/ 3459901 h 3459901"/>
              <a:gd name="connsiteX0" fmla="*/ 461290 w 1158557"/>
              <a:gd name="connsiteY0" fmla="*/ 3459901 h 3459901"/>
              <a:gd name="connsiteX1" fmla="*/ 406 w 1158557"/>
              <a:gd name="connsiteY1" fmla="*/ 1658673 h 3459901"/>
              <a:gd name="connsiteX2" fmla="*/ 539204 w 1158557"/>
              <a:gd name="connsiteY2" fmla="*/ 39646 h 3459901"/>
              <a:gd name="connsiteX3" fmla="*/ 739306 w 1158557"/>
              <a:gd name="connsiteY3" fmla="*/ 120481 h 3459901"/>
              <a:gd name="connsiteX4" fmla="*/ 720409 w 1158557"/>
              <a:gd name="connsiteY4" fmla="*/ 1378401 h 3459901"/>
              <a:gd name="connsiteX5" fmla="*/ 1158557 w 1158557"/>
              <a:gd name="connsiteY5" fmla="*/ 3159665 h 3459901"/>
              <a:gd name="connsiteX6" fmla="*/ 461290 w 1158557"/>
              <a:gd name="connsiteY6" fmla="*/ 3459901 h 3459901"/>
              <a:gd name="connsiteX0" fmla="*/ 991516 w 1170393"/>
              <a:gd name="connsiteY0" fmla="*/ 3238750 h 3238750"/>
              <a:gd name="connsiteX1" fmla="*/ 12242 w 1170393"/>
              <a:gd name="connsiteY1" fmla="*/ 1658673 h 3238750"/>
              <a:gd name="connsiteX2" fmla="*/ 551040 w 1170393"/>
              <a:gd name="connsiteY2" fmla="*/ 39646 h 3238750"/>
              <a:gd name="connsiteX3" fmla="*/ 751142 w 1170393"/>
              <a:gd name="connsiteY3" fmla="*/ 120481 h 3238750"/>
              <a:gd name="connsiteX4" fmla="*/ 732245 w 1170393"/>
              <a:gd name="connsiteY4" fmla="*/ 1378401 h 3238750"/>
              <a:gd name="connsiteX5" fmla="*/ 1170393 w 1170393"/>
              <a:gd name="connsiteY5" fmla="*/ 3159665 h 3238750"/>
              <a:gd name="connsiteX6" fmla="*/ 991516 w 1170393"/>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91934 w 830082"/>
              <a:gd name="connsiteY4" fmla="*/ 1378401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67887 w 830082"/>
              <a:gd name="connsiteY4" fmla="*/ 1307378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67887 w 830082"/>
              <a:gd name="connsiteY4" fmla="*/ 1307378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67887 w 830082"/>
              <a:gd name="connsiteY4" fmla="*/ 1307378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36573 w 830082"/>
              <a:gd name="connsiteY4" fmla="*/ 1292600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336573 w 830082"/>
              <a:gd name="connsiteY4" fmla="*/ 1292600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272393 w 830082"/>
              <a:gd name="connsiteY4" fmla="*/ 1288716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272393 w 830082"/>
              <a:gd name="connsiteY4" fmla="*/ 1288716 h 3238750"/>
              <a:gd name="connsiteX5" fmla="*/ 830082 w 830082"/>
              <a:gd name="connsiteY5" fmla="*/ 3159665 h 3238750"/>
              <a:gd name="connsiteX6" fmla="*/ 651205 w 830082"/>
              <a:gd name="connsiteY6" fmla="*/ 3238750 h 3238750"/>
              <a:gd name="connsiteX0" fmla="*/ 651205 w 830082"/>
              <a:gd name="connsiteY0" fmla="*/ 3238750 h 3238750"/>
              <a:gd name="connsiteX1" fmla="*/ 105263 w 830082"/>
              <a:gd name="connsiteY1" fmla="*/ 1501946 h 3238750"/>
              <a:gd name="connsiteX2" fmla="*/ 210729 w 830082"/>
              <a:gd name="connsiteY2" fmla="*/ 39646 h 3238750"/>
              <a:gd name="connsiteX3" fmla="*/ 410831 w 830082"/>
              <a:gd name="connsiteY3" fmla="*/ 120481 h 3238750"/>
              <a:gd name="connsiteX4" fmla="*/ 272393 w 830082"/>
              <a:gd name="connsiteY4" fmla="*/ 1288716 h 3238750"/>
              <a:gd name="connsiteX5" fmla="*/ 830082 w 830082"/>
              <a:gd name="connsiteY5" fmla="*/ 3159665 h 3238750"/>
              <a:gd name="connsiteX6" fmla="*/ 651205 w 830082"/>
              <a:gd name="connsiteY6" fmla="*/ 3238750 h 3238750"/>
              <a:gd name="connsiteX0" fmla="*/ 569310 w 748187"/>
              <a:gd name="connsiteY0" fmla="*/ 3238750 h 3238750"/>
              <a:gd name="connsiteX1" fmla="*/ 23368 w 748187"/>
              <a:gd name="connsiteY1" fmla="*/ 1501946 h 3238750"/>
              <a:gd name="connsiteX2" fmla="*/ 128834 w 748187"/>
              <a:gd name="connsiteY2" fmla="*/ 39646 h 3238750"/>
              <a:gd name="connsiteX3" fmla="*/ 328936 w 748187"/>
              <a:gd name="connsiteY3" fmla="*/ 120481 h 3238750"/>
              <a:gd name="connsiteX4" fmla="*/ 190498 w 748187"/>
              <a:gd name="connsiteY4" fmla="*/ 1288716 h 3238750"/>
              <a:gd name="connsiteX5" fmla="*/ 748187 w 748187"/>
              <a:gd name="connsiteY5" fmla="*/ 3159665 h 3238750"/>
              <a:gd name="connsiteX6" fmla="*/ 569310 w 748187"/>
              <a:gd name="connsiteY6" fmla="*/ 3238750 h 3238750"/>
              <a:gd name="connsiteX0" fmla="*/ 565668 w 744545"/>
              <a:gd name="connsiteY0" fmla="*/ 3238750 h 3238750"/>
              <a:gd name="connsiteX1" fmla="*/ 19726 w 744545"/>
              <a:gd name="connsiteY1" fmla="*/ 1501946 h 3238750"/>
              <a:gd name="connsiteX2" fmla="*/ 125192 w 744545"/>
              <a:gd name="connsiteY2" fmla="*/ 39646 h 3238750"/>
              <a:gd name="connsiteX3" fmla="*/ 325294 w 744545"/>
              <a:gd name="connsiteY3" fmla="*/ 120481 h 3238750"/>
              <a:gd name="connsiteX4" fmla="*/ 186856 w 744545"/>
              <a:gd name="connsiteY4" fmla="*/ 1288716 h 3238750"/>
              <a:gd name="connsiteX5" fmla="*/ 744545 w 744545"/>
              <a:gd name="connsiteY5" fmla="*/ 3159665 h 3238750"/>
              <a:gd name="connsiteX6" fmla="*/ 565668 w 744545"/>
              <a:gd name="connsiteY6" fmla="*/ 3238750 h 3238750"/>
              <a:gd name="connsiteX0" fmla="*/ 565668 w 744545"/>
              <a:gd name="connsiteY0" fmla="*/ 3238750 h 3238750"/>
              <a:gd name="connsiteX1" fmla="*/ 19726 w 744545"/>
              <a:gd name="connsiteY1" fmla="*/ 1501946 h 3238750"/>
              <a:gd name="connsiteX2" fmla="*/ 125192 w 744545"/>
              <a:gd name="connsiteY2" fmla="*/ 39646 h 3238750"/>
              <a:gd name="connsiteX3" fmla="*/ 325294 w 744545"/>
              <a:gd name="connsiteY3" fmla="*/ 120481 h 3238750"/>
              <a:gd name="connsiteX4" fmla="*/ 186856 w 744545"/>
              <a:gd name="connsiteY4" fmla="*/ 1288716 h 3238750"/>
              <a:gd name="connsiteX5" fmla="*/ 744545 w 744545"/>
              <a:gd name="connsiteY5" fmla="*/ 3159665 h 3238750"/>
              <a:gd name="connsiteX6" fmla="*/ 565668 w 744545"/>
              <a:gd name="connsiteY6" fmla="*/ 3238750 h 3238750"/>
              <a:gd name="connsiteX0" fmla="*/ 560840 w 747651"/>
              <a:gd name="connsiteY0" fmla="*/ 3242135 h 3242135"/>
              <a:gd name="connsiteX1" fmla="*/ 22832 w 747651"/>
              <a:gd name="connsiteY1" fmla="*/ 1501946 h 3242135"/>
              <a:gd name="connsiteX2" fmla="*/ 128298 w 747651"/>
              <a:gd name="connsiteY2" fmla="*/ 39646 h 3242135"/>
              <a:gd name="connsiteX3" fmla="*/ 328400 w 747651"/>
              <a:gd name="connsiteY3" fmla="*/ 120481 h 3242135"/>
              <a:gd name="connsiteX4" fmla="*/ 189962 w 747651"/>
              <a:gd name="connsiteY4" fmla="*/ 1288716 h 3242135"/>
              <a:gd name="connsiteX5" fmla="*/ 747651 w 747651"/>
              <a:gd name="connsiteY5" fmla="*/ 3159665 h 3242135"/>
              <a:gd name="connsiteX6" fmla="*/ 560840 w 747651"/>
              <a:gd name="connsiteY6" fmla="*/ 3242135 h 3242135"/>
              <a:gd name="connsiteX0" fmla="*/ 560840 w 753602"/>
              <a:gd name="connsiteY0" fmla="*/ 3242135 h 3242135"/>
              <a:gd name="connsiteX1" fmla="*/ 22832 w 753602"/>
              <a:gd name="connsiteY1" fmla="*/ 1501946 h 3242135"/>
              <a:gd name="connsiteX2" fmla="*/ 128298 w 753602"/>
              <a:gd name="connsiteY2" fmla="*/ 39646 h 3242135"/>
              <a:gd name="connsiteX3" fmla="*/ 328400 w 753602"/>
              <a:gd name="connsiteY3" fmla="*/ 120481 h 3242135"/>
              <a:gd name="connsiteX4" fmla="*/ 189962 w 753602"/>
              <a:gd name="connsiteY4" fmla="*/ 1288716 h 3242135"/>
              <a:gd name="connsiteX5" fmla="*/ 753602 w 753602"/>
              <a:gd name="connsiteY5" fmla="*/ 3157126 h 3242135"/>
              <a:gd name="connsiteX6" fmla="*/ 560840 w 753602"/>
              <a:gd name="connsiteY6" fmla="*/ 3242135 h 3242135"/>
              <a:gd name="connsiteX0" fmla="*/ 560840 w 753602"/>
              <a:gd name="connsiteY0" fmla="*/ 3242135 h 3242135"/>
              <a:gd name="connsiteX1" fmla="*/ 22832 w 753602"/>
              <a:gd name="connsiteY1" fmla="*/ 1501946 h 3242135"/>
              <a:gd name="connsiteX2" fmla="*/ 128298 w 753602"/>
              <a:gd name="connsiteY2" fmla="*/ 39646 h 3242135"/>
              <a:gd name="connsiteX3" fmla="*/ 328400 w 753602"/>
              <a:gd name="connsiteY3" fmla="*/ 120481 h 3242135"/>
              <a:gd name="connsiteX4" fmla="*/ 193347 w 753602"/>
              <a:gd name="connsiteY4" fmla="*/ 1296650 h 3242135"/>
              <a:gd name="connsiteX5" fmla="*/ 753602 w 753602"/>
              <a:gd name="connsiteY5" fmla="*/ 3157126 h 3242135"/>
              <a:gd name="connsiteX6" fmla="*/ 560840 w 753602"/>
              <a:gd name="connsiteY6" fmla="*/ 3242135 h 3242135"/>
              <a:gd name="connsiteX0" fmla="*/ 560840 w 753602"/>
              <a:gd name="connsiteY0" fmla="*/ 3242135 h 3242135"/>
              <a:gd name="connsiteX1" fmla="*/ 22832 w 753602"/>
              <a:gd name="connsiteY1" fmla="*/ 1501946 h 3242135"/>
              <a:gd name="connsiteX2" fmla="*/ 128298 w 753602"/>
              <a:gd name="connsiteY2" fmla="*/ 39646 h 3242135"/>
              <a:gd name="connsiteX3" fmla="*/ 328400 w 753602"/>
              <a:gd name="connsiteY3" fmla="*/ 120481 h 3242135"/>
              <a:gd name="connsiteX4" fmla="*/ 193347 w 753602"/>
              <a:gd name="connsiteY4" fmla="*/ 1296650 h 3242135"/>
              <a:gd name="connsiteX5" fmla="*/ 753602 w 753602"/>
              <a:gd name="connsiteY5" fmla="*/ 3157126 h 3242135"/>
              <a:gd name="connsiteX6" fmla="*/ 560840 w 753602"/>
              <a:gd name="connsiteY6" fmla="*/ 3242135 h 3242135"/>
              <a:gd name="connsiteX0" fmla="*/ 560840 w 753602"/>
              <a:gd name="connsiteY0" fmla="*/ 3242135 h 3242135"/>
              <a:gd name="connsiteX1" fmla="*/ 22832 w 753602"/>
              <a:gd name="connsiteY1" fmla="*/ 1501946 h 3242135"/>
              <a:gd name="connsiteX2" fmla="*/ 128298 w 753602"/>
              <a:gd name="connsiteY2" fmla="*/ 39646 h 3242135"/>
              <a:gd name="connsiteX3" fmla="*/ 328400 w 753602"/>
              <a:gd name="connsiteY3" fmla="*/ 120481 h 3242135"/>
              <a:gd name="connsiteX4" fmla="*/ 193347 w 753602"/>
              <a:gd name="connsiteY4" fmla="*/ 1296650 h 3242135"/>
              <a:gd name="connsiteX5" fmla="*/ 753602 w 753602"/>
              <a:gd name="connsiteY5" fmla="*/ 3157126 h 3242135"/>
              <a:gd name="connsiteX6" fmla="*/ 560840 w 753602"/>
              <a:gd name="connsiteY6" fmla="*/ 3242135 h 3242135"/>
              <a:gd name="connsiteX0" fmla="*/ 537057 w 752106"/>
              <a:gd name="connsiteY0" fmla="*/ 3248516 h 3248516"/>
              <a:gd name="connsiteX1" fmla="*/ 21336 w 752106"/>
              <a:gd name="connsiteY1" fmla="*/ 1501946 h 3248516"/>
              <a:gd name="connsiteX2" fmla="*/ 126802 w 752106"/>
              <a:gd name="connsiteY2" fmla="*/ 39646 h 3248516"/>
              <a:gd name="connsiteX3" fmla="*/ 326904 w 752106"/>
              <a:gd name="connsiteY3" fmla="*/ 120481 h 3248516"/>
              <a:gd name="connsiteX4" fmla="*/ 191851 w 752106"/>
              <a:gd name="connsiteY4" fmla="*/ 1296650 h 3248516"/>
              <a:gd name="connsiteX5" fmla="*/ 752106 w 752106"/>
              <a:gd name="connsiteY5" fmla="*/ 3157126 h 3248516"/>
              <a:gd name="connsiteX6" fmla="*/ 537057 w 752106"/>
              <a:gd name="connsiteY6" fmla="*/ 3248516 h 3248516"/>
              <a:gd name="connsiteX0" fmla="*/ 537057 w 728302"/>
              <a:gd name="connsiteY0" fmla="*/ 3248516 h 3248516"/>
              <a:gd name="connsiteX1" fmla="*/ 21336 w 728302"/>
              <a:gd name="connsiteY1" fmla="*/ 1501946 h 3248516"/>
              <a:gd name="connsiteX2" fmla="*/ 126802 w 728302"/>
              <a:gd name="connsiteY2" fmla="*/ 39646 h 3248516"/>
              <a:gd name="connsiteX3" fmla="*/ 326904 w 728302"/>
              <a:gd name="connsiteY3" fmla="*/ 120481 h 3248516"/>
              <a:gd name="connsiteX4" fmla="*/ 191851 w 728302"/>
              <a:gd name="connsiteY4" fmla="*/ 1296650 h 3248516"/>
              <a:gd name="connsiteX5" fmla="*/ 728302 w 728302"/>
              <a:gd name="connsiteY5" fmla="*/ 3167281 h 3248516"/>
              <a:gd name="connsiteX6" fmla="*/ 537057 w 728302"/>
              <a:gd name="connsiteY6" fmla="*/ 3248516 h 3248516"/>
              <a:gd name="connsiteX0" fmla="*/ 537057 w 728302"/>
              <a:gd name="connsiteY0" fmla="*/ 3245906 h 3245906"/>
              <a:gd name="connsiteX1" fmla="*/ 21336 w 728302"/>
              <a:gd name="connsiteY1" fmla="*/ 1499336 h 3245906"/>
              <a:gd name="connsiteX2" fmla="*/ 126802 w 728302"/>
              <a:gd name="connsiteY2" fmla="*/ 37036 h 3245906"/>
              <a:gd name="connsiteX3" fmla="*/ 400112 w 728302"/>
              <a:gd name="connsiteY3" fmla="*/ 142912 h 3245906"/>
              <a:gd name="connsiteX4" fmla="*/ 191851 w 728302"/>
              <a:gd name="connsiteY4" fmla="*/ 1294040 h 3245906"/>
              <a:gd name="connsiteX5" fmla="*/ 728302 w 728302"/>
              <a:gd name="connsiteY5" fmla="*/ 3164671 h 3245906"/>
              <a:gd name="connsiteX6" fmla="*/ 537057 w 728302"/>
              <a:gd name="connsiteY6" fmla="*/ 3245906 h 3245906"/>
              <a:gd name="connsiteX0" fmla="*/ 531763 w 723008"/>
              <a:gd name="connsiteY0" fmla="*/ 3132752 h 3132752"/>
              <a:gd name="connsiteX1" fmla="*/ 16042 w 723008"/>
              <a:gd name="connsiteY1" fmla="*/ 1386182 h 3132752"/>
              <a:gd name="connsiteX2" fmla="*/ 153380 w 723008"/>
              <a:gd name="connsiteY2" fmla="*/ 57216 h 3132752"/>
              <a:gd name="connsiteX3" fmla="*/ 394818 w 723008"/>
              <a:gd name="connsiteY3" fmla="*/ 29758 h 3132752"/>
              <a:gd name="connsiteX4" fmla="*/ 186557 w 723008"/>
              <a:gd name="connsiteY4" fmla="*/ 1180886 h 3132752"/>
              <a:gd name="connsiteX5" fmla="*/ 723008 w 723008"/>
              <a:gd name="connsiteY5" fmla="*/ 3051517 h 3132752"/>
              <a:gd name="connsiteX6" fmla="*/ 531763 w 723008"/>
              <a:gd name="connsiteY6" fmla="*/ 3132752 h 3132752"/>
              <a:gd name="connsiteX0" fmla="*/ 527896 w 719141"/>
              <a:gd name="connsiteY0" fmla="*/ 3128426 h 3128426"/>
              <a:gd name="connsiteX1" fmla="*/ 12175 w 719141"/>
              <a:gd name="connsiteY1" fmla="*/ 1381856 h 3128426"/>
              <a:gd name="connsiteX2" fmla="*/ 180086 w 719141"/>
              <a:gd name="connsiteY2" fmla="*/ 58603 h 3128426"/>
              <a:gd name="connsiteX3" fmla="*/ 390951 w 719141"/>
              <a:gd name="connsiteY3" fmla="*/ 25432 h 3128426"/>
              <a:gd name="connsiteX4" fmla="*/ 182690 w 719141"/>
              <a:gd name="connsiteY4" fmla="*/ 1176560 h 3128426"/>
              <a:gd name="connsiteX5" fmla="*/ 719141 w 719141"/>
              <a:gd name="connsiteY5" fmla="*/ 3047191 h 3128426"/>
              <a:gd name="connsiteX6" fmla="*/ 527896 w 719141"/>
              <a:gd name="connsiteY6" fmla="*/ 3128426 h 3128426"/>
              <a:gd name="connsiteX0" fmla="*/ 527896 w 719141"/>
              <a:gd name="connsiteY0" fmla="*/ 3102994 h 3102994"/>
              <a:gd name="connsiteX1" fmla="*/ 12175 w 719141"/>
              <a:gd name="connsiteY1" fmla="*/ 1356424 h 3102994"/>
              <a:gd name="connsiteX2" fmla="*/ 180086 w 719141"/>
              <a:gd name="connsiteY2" fmla="*/ 33171 h 3102994"/>
              <a:gd name="connsiteX3" fmla="*/ 390951 w 719141"/>
              <a:gd name="connsiteY3" fmla="*/ 0 h 3102994"/>
              <a:gd name="connsiteX4" fmla="*/ 182690 w 719141"/>
              <a:gd name="connsiteY4" fmla="*/ 1151128 h 3102994"/>
              <a:gd name="connsiteX5" fmla="*/ 719141 w 719141"/>
              <a:gd name="connsiteY5" fmla="*/ 3021759 h 3102994"/>
              <a:gd name="connsiteX6" fmla="*/ 527896 w 719141"/>
              <a:gd name="connsiteY6" fmla="*/ 3102994 h 3102994"/>
              <a:gd name="connsiteX0" fmla="*/ 527896 w 719141"/>
              <a:gd name="connsiteY0" fmla="*/ 3104899 h 3104899"/>
              <a:gd name="connsiteX1" fmla="*/ 12175 w 719141"/>
              <a:gd name="connsiteY1" fmla="*/ 1358329 h 3104899"/>
              <a:gd name="connsiteX2" fmla="*/ 180086 w 719141"/>
              <a:gd name="connsiteY2" fmla="*/ 35076 h 3104899"/>
              <a:gd name="connsiteX3" fmla="*/ 380760 w 719141"/>
              <a:gd name="connsiteY3" fmla="*/ 0 h 3104899"/>
              <a:gd name="connsiteX4" fmla="*/ 182690 w 719141"/>
              <a:gd name="connsiteY4" fmla="*/ 1153033 h 3104899"/>
              <a:gd name="connsiteX5" fmla="*/ 719141 w 719141"/>
              <a:gd name="connsiteY5" fmla="*/ 3023664 h 3104899"/>
              <a:gd name="connsiteX6" fmla="*/ 527896 w 719141"/>
              <a:gd name="connsiteY6" fmla="*/ 3104899 h 3104899"/>
              <a:gd name="connsiteX0" fmla="*/ 527896 w 719141"/>
              <a:gd name="connsiteY0" fmla="*/ 3104899 h 3104899"/>
              <a:gd name="connsiteX1" fmla="*/ 12175 w 719141"/>
              <a:gd name="connsiteY1" fmla="*/ 1358329 h 3104899"/>
              <a:gd name="connsiteX2" fmla="*/ 180086 w 719141"/>
              <a:gd name="connsiteY2" fmla="*/ 35076 h 3104899"/>
              <a:gd name="connsiteX3" fmla="*/ 380760 w 719141"/>
              <a:gd name="connsiteY3" fmla="*/ 0 h 3104899"/>
              <a:gd name="connsiteX4" fmla="*/ 182690 w 719141"/>
              <a:gd name="connsiteY4" fmla="*/ 1153033 h 3104899"/>
              <a:gd name="connsiteX5" fmla="*/ 719141 w 719141"/>
              <a:gd name="connsiteY5" fmla="*/ 3023664 h 3104899"/>
              <a:gd name="connsiteX6" fmla="*/ 527896 w 719141"/>
              <a:gd name="connsiteY6" fmla="*/ 3104899 h 3104899"/>
              <a:gd name="connsiteX0" fmla="*/ 536790 w 728035"/>
              <a:gd name="connsiteY0" fmla="*/ 3104899 h 3104899"/>
              <a:gd name="connsiteX1" fmla="*/ 11655 w 728035"/>
              <a:gd name="connsiteY1" fmla="*/ 1343588 h 3104899"/>
              <a:gd name="connsiteX2" fmla="*/ 188980 w 728035"/>
              <a:gd name="connsiteY2" fmla="*/ 35076 h 3104899"/>
              <a:gd name="connsiteX3" fmla="*/ 389654 w 728035"/>
              <a:gd name="connsiteY3" fmla="*/ 0 h 3104899"/>
              <a:gd name="connsiteX4" fmla="*/ 191584 w 728035"/>
              <a:gd name="connsiteY4" fmla="*/ 1153033 h 3104899"/>
              <a:gd name="connsiteX5" fmla="*/ 728035 w 728035"/>
              <a:gd name="connsiteY5" fmla="*/ 3023664 h 3104899"/>
              <a:gd name="connsiteX6" fmla="*/ 536790 w 728035"/>
              <a:gd name="connsiteY6" fmla="*/ 3104899 h 3104899"/>
              <a:gd name="connsiteX0" fmla="*/ 538081 w 729326"/>
              <a:gd name="connsiteY0" fmla="*/ 3104899 h 3104899"/>
              <a:gd name="connsiteX1" fmla="*/ 12946 w 729326"/>
              <a:gd name="connsiteY1" fmla="*/ 1343588 h 3104899"/>
              <a:gd name="connsiteX2" fmla="*/ 190271 w 729326"/>
              <a:gd name="connsiteY2" fmla="*/ 35076 h 3104899"/>
              <a:gd name="connsiteX3" fmla="*/ 390945 w 729326"/>
              <a:gd name="connsiteY3" fmla="*/ 0 h 3104899"/>
              <a:gd name="connsiteX4" fmla="*/ 192875 w 729326"/>
              <a:gd name="connsiteY4" fmla="*/ 1153033 h 3104899"/>
              <a:gd name="connsiteX5" fmla="*/ 729326 w 729326"/>
              <a:gd name="connsiteY5" fmla="*/ 3023664 h 3104899"/>
              <a:gd name="connsiteX6" fmla="*/ 538081 w 729326"/>
              <a:gd name="connsiteY6" fmla="*/ 3104899 h 3104899"/>
              <a:gd name="connsiteX0" fmla="*/ 532501 w 729035"/>
              <a:gd name="connsiteY0" fmla="*/ 3107155 h 3107155"/>
              <a:gd name="connsiteX1" fmla="*/ 12655 w 729035"/>
              <a:gd name="connsiteY1" fmla="*/ 1343588 h 3107155"/>
              <a:gd name="connsiteX2" fmla="*/ 189980 w 729035"/>
              <a:gd name="connsiteY2" fmla="*/ 35076 h 3107155"/>
              <a:gd name="connsiteX3" fmla="*/ 390654 w 729035"/>
              <a:gd name="connsiteY3" fmla="*/ 0 h 3107155"/>
              <a:gd name="connsiteX4" fmla="*/ 192584 w 729035"/>
              <a:gd name="connsiteY4" fmla="*/ 1153033 h 3107155"/>
              <a:gd name="connsiteX5" fmla="*/ 729035 w 729035"/>
              <a:gd name="connsiteY5" fmla="*/ 3023664 h 3107155"/>
              <a:gd name="connsiteX6" fmla="*/ 532501 w 729035"/>
              <a:gd name="connsiteY6" fmla="*/ 3107155 h 3107155"/>
              <a:gd name="connsiteX0" fmla="*/ 532501 w 729035"/>
              <a:gd name="connsiteY0" fmla="*/ 3107155 h 3107155"/>
              <a:gd name="connsiteX1" fmla="*/ 12655 w 729035"/>
              <a:gd name="connsiteY1" fmla="*/ 1343588 h 3107155"/>
              <a:gd name="connsiteX2" fmla="*/ 189980 w 729035"/>
              <a:gd name="connsiteY2" fmla="*/ 35076 h 3107155"/>
              <a:gd name="connsiteX3" fmla="*/ 390654 w 729035"/>
              <a:gd name="connsiteY3" fmla="*/ 0 h 3107155"/>
              <a:gd name="connsiteX4" fmla="*/ 187537 w 729035"/>
              <a:gd name="connsiteY4" fmla="*/ 1236467 h 3107155"/>
              <a:gd name="connsiteX5" fmla="*/ 729035 w 729035"/>
              <a:gd name="connsiteY5" fmla="*/ 3023664 h 3107155"/>
              <a:gd name="connsiteX6" fmla="*/ 532501 w 729035"/>
              <a:gd name="connsiteY6" fmla="*/ 3107155 h 3107155"/>
              <a:gd name="connsiteX0" fmla="*/ 532501 w 729035"/>
              <a:gd name="connsiteY0" fmla="*/ 3107155 h 3107155"/>
              <a:gd name="connsiteX1" fmla="*/ 12655 w 729035"/>
              <a:gd name="connsiteY1" fmla="*/ 1343588 h 3107155"/>
              <a:gd name="connsiteX2" fmla="*/ 189980 w 729035"/>
              <a:gd name="connsiteY2" fmla="*/ 35076 h 3107155"/>
              <a:gd name="connsiteX3" fmla="*/ 390654 w 729035"/>
              <a:gd name="connsiteY3" fmla="*/ 0 h 3107155"/>
              <a:gd name="connsiteX4" fmla="*/ 205275 w 729035"/>
              <a:gd name="connsiteY4" fmla="*/ 1241405 h 3107155"/>
              <a:gd name="connsiteX5" fmla="*/ 729035 w 729035"/>
              <a:gd name="connsiteY5" fmla="*/ 3023664 h 3107155"/>
              <a:gd name="connsiteX6" fmla="*/ 532501 w 729035"/>
              <a:gd name="connsiteY6" fmla="*/ 3107155 h 3107155"/>
              <a:gd name="connsiteX0" fmla="*/ 530783 w 727317"/>
              <a:gd name="connsiteY0" fmla="*/ 3107155 h 3107155"/>
              <a:gd name="connsiteX1" fmla="*/ 10937 w 727317"/>
              <a:gd name="connsiteY1" fmla="*/ 1343588 h 3107155"/>
              <a:gd name="connsiteX2" fmla="*/ 188262 w 727317"/>
              <a:gd name="connsiteY2" fmla="*/ 35076 h 3107155"/>
              <a:gd name="connsiteX3" fmla="*/ 388936 w 727317"/>
              <a:gd name="connsiteY3" fmla="*/ 0 h 3107155"/>
              <a:gd name="connsiteX4" fmla="*/ 203557 w 727317"/>
              <a:gd name="connsiteY4" fmla="*/ 1241405 h 3107155"/>
              <a:gd name="connsiteX5" fmla="*/ 727317 w 727317"/>
              <a:gd name="connsiteY5" fmla="*/ 3023664 h 3107155"/>
              <a:gd name="connsiteX6" fmla="*/ 530783 w 727317"/>
              <a:gd name="connsiteY6" fmla="*/ 3107155 h 3107155"/>
              <a:gd name="connsiteX0" fmla="*/ 518013 w 714547"/>
              <a:gd name="connsiteY0" fmla="*/ 3107155 h 3107155"/>
              <a:gd name="connsiteX1" fmla="*/ 11780 w 714547"/>
              <a:gd name="connsiteY1" fmla="*/ 1331527 h 3107155"/>
              <a:gd name="connsiteX2" fmla="*/ 175492 w 714547"/>
              <a:gd name="connsiteY2" fmla="*/ 35076 h 3107155"/>
              <a:gd name="connsiteX3" fmla="*/ 376166 w 714547"/>
              <a:gd name="connsiteY3" fmla="*/ 0 h 3107155"/>
              <a:gd name="connsiteX4" fmla="*/ 190787 w 714547"/>
              <a:gd name="connsiteY4" fmla="*/ 1241405 h 3107155"/>
              <a:gd name="connsiteX5" fmla="*/ 714547 w 714547"/>
              <a:gd name="connsiteY5" fmla="*/ 3023664 h 3107155"/>
              <a:gd name="connsiteX6" fmla="*/ 518013 w 714547"/>
              <a:gd name="connsiteY6" fmla="*/ 3107155 h 3107155"/>
              <a:gd name="connsiteX0" fmla="*/ 523325 w 719859"/>
              <a:gd name="connsiteY0" fmla="*/ 3107155 h 3107155"/>
              <a:gd name="connsiteX1" fmla="*/ 11413 w 719859"/>
              <a:gd name="connsiteY1" fmla="*/ 1340202 h 3107155"/>
              <a:gd name="connsiteX2" fmla="*/ 180804 w 719859"/>
              <a:gd name="connsiteY2" fmla="*/ 35076 h 3107155"/>
              <a:gd name="connsiteX3" fmla="*/ 381478 w 719859"/>
              <a:gd name="connsiteY3" fmla="*/ 0 h 3107155"/>
              <a:gd name="connsiteX4" fmla="*/ 196099 w 719859"/>
              <a:gd name="connsiteY4" fmla="*/ 1241405 h 3107155"/>
              <a:gd name="connsiteX5" fmla="*/ 719859 w 719859"/>
              <a:gd name="connsiteY5" fmla="*/ 3023664 h 3107155"/>
              <a:gd name="connsiteX6" fmla="*/ 523325 w 719859"/>
              <a:gd name="connsiteY6" fmla="*/ 3107155 h 3107155"/>
              <a:gd name="connsiteX0" fmla="*/ 523325 w 719859"/>
              <a:gd name="connsiteY0" fmla="*/ 3107155 h 3107155"/>
              <a:gd name="connsiteX1" fmla="*/ 11413 w 719859"/>
              <a:gd name="connsiteY1" fmla="*/ 1340202 h 3107155"/>
              <a:gd name="connsiteX2" fmla="*/ 180804 w 719859"/>
              <a:gd name="connsiteY2" fmla="*/ 35076 h 3107155"/>
              <a:gd name="connsiteX3" fmla="*/ 381478 w 719859"/>
              <a:gd name="connsiteY3" fmla="*/ 0 h 3107155"/>
              <a:gd name="connsiteX4" fmla="*/ 196099 w 719859"/>
              <a:gd name="connsiteY4" fmla="*/ 1241405 h 3107155"/>
              <a:gd name="connsiteX5" fmla="*/ 719859 w 719859"/>
              <a:gd name="connsiteY5" fmla="*/ 3023664 h 3107155"/>
              <a:gd name="connsiteX6" fmla="*/ 523325 w 719859"/>
              <a:gd name="connsiteY6" fmla="*/ 3107155 h 3107155"/>
              <a:gd name="connsiteX0" fmla="*/ 512532 w 709066"/>
              <a:gd name="connsiteY0" fmla="*/ 3107155 h 3107155"/>
              <a:gd name="connsiteX1" fmla="*/ 12184 w 709066"/>
              <a:gd name="connsiteY1" fmla="*/ 1425929 h 3107155"/>
              <a:gd name="connsiteX2" fmla="*/ 170011 w 709066"/>
              <a:gd name="connsiteY2" fmla="*/ 35076 h 3107155"/>
              <a:gd name="connsiteX3" fmla="*/ 370685 w 709066"/>
              <a:gd name="connsiteY3" fmla="*/ 0 h 3107155"/>
              <a:gd name="connsiteX4" fmla="*/ 185306 w 709066"/>
              <a:gd name="connsiteY4" fmla="*/ 1241405 h 3107155"/>
              <a:gd name="connsiteX5" fmla="*/ 709066 w 709066"/>
              <a:gd name="connsiteY5" fmla="*/ 3023664 h 3107155"/>
              <a:gd name="connsiteX6" fmla="*/ 512532 w 709066"/>
              <a:gd name="connsiteY6" fmla="*/ 3107155 h 3107155"/>
              <a:gd name="connsiteX0" fmla="*/ 512532 w 709066"/>
              <a:gd name="connsiteY0" fmla="*/ 3107155 h 3107155"/>
              <a:gd name="connsiteX1" fmla="*/ 12184 w 709066"/>
              <a:gd name="connsiteY1" fmla="*/ 1425929 h 3107155"/>
              <a:gd name="connsiteX2" fmla="*/ 170011 w 709066"/>
              <a:gd name="connsiteY2" fmla="*/ 35076 h 3107155"/>
              <a:gd name="connsiteX3" fmla="*/ 370685 w 709066"/>
              <a:gd name="connsiteY3" fmla="*/ 0 h 3107155"/>
              <a:gd name="connsiteX4" fmla="*/ 185306 w 709066"/>
              <a:gd name="connsiteY4" fmla="*/ 1241405 h 3107155"/>
              <a:gd name="connsiteX5" fmla="*/ 709066 w 709066"/>
              <a:gd name="connsiteY5" fmla="*/ 3023664 h 3107155"/>
              <a:gd name="connsiteX6" fmla="*/ 512532 w 709066"/>
              <a:gd name="connsiteY6" fmla="*/ 3107155 h 3107155"/>
              <a:gd name="connsiteX0" fmla="*/ 512532 w 709066"/>
              <a:gd name="connsiteY0" fmla="*/ 3097704 h 3097704"/>
              <a:gd name="connsiteX1" fmla="*/ 12184 w 709066"/>
              <a:gd name="connsiteY1" fmla="*/ 1416478 h 3097704"/>
              <a:gd name="connsiteX2" fmla="*/ 170011 w 709066"/>
              <a:gd name="connsiteY2" fmla="*/ 25625 h 3097704"/>
              <a:gd name="connsiteX3" fmla="*/ 377843 w 709066"/>
              <a:gd name="connsiteY3" fmla="*/ 0 h 3097704"/>
              <a:gd name="connsiteX4" fmla="*/ 185306 w 709066"/>
              <a:gd name="connsiteY4" fmla="*/ 1231954 h 3097704"/>
              <a:gd name="connsiteX5" fmla="*/ 709066 w 709066"/>
              <a:gd name="connsiteY5" fmla="*/ 3014213 h 3097704"/>
              <a:gd name="connsiteX6" fmla="*/ 512532 w 709066"/>
              <a:gd name="connsiteY6" fmla="*/ 3097704 h 3097704"/>
              <a:gd name="connsiteX0" fmla="*/ 512532 w 704517"/>
              <a:gd name="connsiteY0" fmla="*/ 3097704 h 3097704"/>
              <a:gd name="connsiteX1" fmla="*/ 12184 w 704517"/>
              <a:gd name="connsiteY1" fmla="*/ 1416478 h 3097704"/>
              <a:gd name="connsiteX2" fmla="*/ 170011 w 704517"/>
              <a:gd name="connsiteY2" fmla="*/ 25625 h 3097704"/>
              <a:gd name="connsiteX3" fmla="*/ 377843 w 704517"/>
              <a:gd name="connsiteY3" fmla="*/ 0 h 3097704"/>
              <a:gd name="connsiteX4" fmla="*/ 185306 w 704517"/>
              <a:gd name="connsiteY4" fmla="*/ 1231954 h 3097704"/>
              <a:gd name="connsiteX5" fmla="*/ 704517 w 704517"/>
              <a:gd name="connsiteY5" fmla="*/ 3023613 h 3097704"/>
              <a:gd name="connsiteX6" fmla="*/ 512532 w 704517"/>
              <a:gd name="connsiteY6" fmla="*/ 3097704 h 3097704"/>
              <a:gd name="connsiteX0" fmla="*/ 516796 w 706488"/>
              <a:gd name="connsiteY0" fmla="*/ 3083911 h 3083911"/>
              <a:gd name="connsiteX1" fmla="*/ 14155 w 706488"/>
              <a:gd name="connsiteY1" fmla="*/ 1416478 h 3083911"/>
              <a:gd name="connsiteX2" fmla="*/ 171982 w 706488"/>
              <a:gd name="connsiteY2" fmla="*/ 25625 h 3083911"/>
              <a:gd name="connsiteX3" fmla="*/ 379814 w 706488"/>
              <a:gd name="connsiteY3" fmla="*/ 0 h 3083911"/>
              <a:gd name="connsiteX4" fmla="*/ 187277 w 706488"/>
              <a:gd name="connsiteY4" fmla="*/ 1231954 h 3083911"/>
              <a:gd name="connsiteX5" fmla="*/ 706488 w 706488"/>
              <a:gd name="connsiteY5" fmla="*/ 3023613 h 3083911"/>
              <a:gd name="connsiteX6" fmla="*/ 516796 w 706488"/>
              <a:gd name="connsiteY6" fmla="*/ 3083911 h 3083911"/>
              <a:gd name="connsiteX0" fmla="*/ 511196 w 706178"/>
              <a:gd name="connsiteY0" fmla="*/ 3085785 h 3085785"/>
              <a:gd name="connsiteX1" fmla="*/ 13845 w 706178"/>
              <a:gd name="connsiteY1" fmla="*/ 1416478 h 3085785"/>
              <a:gd name="connsiteX2" fmla="*/ 171672 w 706178"/>
              <a:gd name="connsiteY2" fmla="*/ 25625 h 3085785"/>
              <a:gd name="connsiteX3" fmla="*/ 379504 w 706178"/>
              <a:gd name="connsiteY3" fmla="*/ 0 h 3085785"/>
              <a:gd name="connsiteX4" fmla="*/ 186967 w 706178"/>
              <a:gd name="connsiteY4" fmla="*/ 1231954 h 3085785"/>
              <a:gd name="connsiteX5" fmla="*/ 706178 w 706178"/>
              <a:gd name="connsiteY5" fmla="*/ 3023613 h 3085785"/>
              <a:gd name="connsiteX6" fmla="*/ 511196 w 706178"/>
              <a:gd name="connsiteY6" fmla="*/ 3085785 h 3085785"/>
              <a:gd name="connsiteX0" fmla="*/ 511196 w 706178"/>
              <a:gd name="connsiteY0" fmla="*/ 3085785 h 3085785"/>
              <a:gd name="connsiteX1" fmla="*/ 13845 w 706178"/>
              <a:gd name="connsiteY1" fmla="*/ 1416478 h 3085785"/>
              <a:gd name="connsiteX2" fmla="*/ 171672 w 706178"/>
              <a:gd name="connsiteY2" fmla="*/ 25625 h 3085785"/>
              <a:gd name="connsiteX3" fmla="*/ 379504 w 706178"/>
              <a:gd name="connsiteY3" fmla="*/ 0 h 3085785"/>
              <a:gd name="connsiteX4" fmla="*/ 186967 w 706178"/>
              <a:gd name="connsiteY4" fmla="*/ 1231954 h 3085785"/>
              <a:gd name="connsiteX5" fmla="*/ 706178 w 706178"/>
              <a:gd name="connsiteY5" fmla="*/ 3023613 h 3085785"/>
              <a:gd name="connsiteX6" fmla="*/ 511196 w 706178"/>
              <a:gd name="connsiteY6" fmla="*/ 3085785 h 3085785"/>
              <a:gd name="connsiteX0" fmla="*/ 523110 w 718092"/>
              <a:gd name="connsiteY0" fmla="*/ 3085785 h 3085785"/>
              <a:gd name="connsiteX1" fmla="*/ 12923 w 718092"/>
              <a:gd name="connsiteY1" fmla="*/ 1415833 h 3085785"/>
              <a:gd name="connsiteX2" fmla="*/ 183586 w 718092"/>
              <a:gd name="connsiteY2" fmla="*/ 25625 h 3085785"/>
              <a:gd name="connsiteX3" fmla="*/ 391418 w 718092"/>
              <a:gd name="connsiteY3" fmla="*/ 0 h 3085785"/>
              <a:gd name="connsiteX4" fmla="*/ 198881 w 718092"/>
              <a:gd name="connsiteY4" fmla="*/ 1231954 h 3085785"/>
              <a:gd name="connsiteX5" fmla="*/ 718092 w 718092"/>
              <a:gd name="connsiteY5" fmla="*/ 3023613 h 3085785"/>
              <a:gd name="connsiteX6" fmla="*/ 523110 w 718092"/>
              <a:gd name="connsiteY6" fmla="*/ 3085785 h 3085785"/>
              <a:gd name="connsiteX0" fmla="*/ 526685 w 718282"/>
              <a:gd name="connsiteY0" fmla="*/ 3092373 h 3092373"/>
              <a:gd name="connsiteX1" fmla="*/ 13113 w 718282"/>
              <a:gd name="connsiteY1" fmla="*/ 1415833 h 3092373"/>
              <a:gd name="connsiteX2" fmla="*/ 183776 w 718282"/>
              <a:gd name="connsiteY2" fmla="*/ 25625 h 3092373"/>
              <a:gd name="connsiteX3" fmla="*/ 391608 w 718282"/>
              <a:gd name="connsiteY3" fmla="*/ 0 h 3092373"/>
              <a:gd name="connsiteX4" fmla="*/ 199071 w 718282"/>
              <a:gd name="connsiteY4" fmla="*/ 1231954 h 3092373"/>
              <a:gd name="connsiteX5" fmla="*/ 718282 w 718282"/>
              <a:gd name="connsiteY5" fmla="*/ 3023613 h 3092373"/>
              <a:gd name="connsiteX6" fmla="*/ 526685 w 718282"/>
              <a:gd name="connsiteY6" fmla="*/ 3092373 h 309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282" h="3092373">
                <a:moveTo>
                  <a:pt x="526685" y="3092373"/>
                </a:moveTo>
                <a:cubicBezTo>
                  <a:pt x="233004" y="2344280"/>
                  <a:pt x="70264" y="1926958"/>
                  <a:pt x="13113" y="1415833"/>
                </a:cubicBezTo>
                <a:cubicBezTo>
                  <a:pt x="-44038" y="904708"/>
                  <a:pt x="99059" y="740782"/>
                  <a:pt x="183776" y="25625"/>
                </a:cubicBezTo>
                <a:cubicBezTo>
                  <a:pt x="339649" y="2765"/>
                  <a:pt x="101619" y="50239"/>
                  <a:pt x="391608" y="0"/>
                </a:cubicBezTo>
                <a:cubicBezTo>
                  <a:pt x="216181" y="1006923"/>
                  <a:pt x="231213" y="726135"/>
                  <a:pt x="199071" y="1231954"/>
                </a:cubicBezTo>
                <a:cubicBezTo>
                  <a:pt x="251899" y="1913712"/>
                  <a:pt x="577639" y="2696087"/>
                  <a:pt x="718282" y="3023613"/>
                </a:cubicBezTo>
                <a:cubicBezTo>
                  <a:pt x="655259" y="3049340"/>
                  <a:pt x="589708" y="3066646"/>
                  <a:pt x="526685" y="3092373"/>
                </a:cubicBez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03" name="TextBox 102">
            <a:extLst>
              <a:ext uri="{FF2B5EF4-FFF2-40B4-BE49-F238E27FC236}">
                <a16:creationId xmlns:a16="http://schemas.microsoft.com/office/drawing/2014/main" id="{90D90296-D717-4FB5-86EA-DF21AE8D2744}"/>
              </a:ext>
            </a:extLst>
          </p:cNvPr>
          <p:cNvSpPr txBox="1"/>
          <p:nvPr/>
        </p:nvSpPr>
        <p:spPr>
          <a:xfrm>
            <a:off x="5158049" y="1383192"/>
            <a:ext cx="1025739" cy="332399"/>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Identify Roles and Skills</a:t>
            </a:r>
          </a:p>
        </p:txBody>
      </p:sp>
      <p:sp>
        <p:nvSpPr>
          <p:cNvPr id="442" name="Freeform: Shape 441">
            <a:extLst>
              <a:ext uri="{FF2B5EF4-FFF2-40B4-BE49-F238E27FC236}">
                <a16:creationId xmlns:a16="http://schemas.microsoft.com/office/drawing/2014/main" id="{71E13494-F3B0-4986-A39D-8B46948C58DE}"/>
              </a:ext>
            </a:extLst>
          </p:cNvPr>
          <p:cNvSpPr/>
          <p:nvPr/>
        </p:nvSpPr>
        <p:spPr>
          <a:xfrm>
            <a:off x="6457830" y="4969889"/>
            <a:ext cx="87724" cy="4520"/>
          </a:xfrm>
          <a:custGeom>
            <a:avLst/>
            <a:gdLst>
              <a:gd name="connsiteX0" fmla="*/ 87724 w 87724"/>
              <a:gd name="connsiteY0" fmla="*/ 0 h 4520"/>
              <a:gd name="connsiteX1" fmla="*/ 1 w 87724"/>
              <a:gd name="connsiteY1" fmla="*/ 4520 h 4520"/>
              <a:gd name="connsiteX2" fmla="*/ 0 w 87724"/>
              <a:gd name="connsiteY2" fmla="*/ 4520 h 4520"/>
              <a:gd name="connsiteX3" fmla="*/ 87724 w 87724"/>
              <a:gd name="connsiteY3" fmla="*/ 0 h 4520"/>
            </a:gdLst>
            <a:ahLst/>
            <a:cxnLst>
              <a:cxn ang="0">
                <a:pos x="connsiteX0" y="connsiteY0"/>
              </a:cxn>
              <a:cxn ang="0">
                <a:pos x="connsiteX1" y="connsiteY1"/>
              </a:cxn>
              <a:cxn ang="0">
                <a:pos x="connsiteX2" y="connsiteY2"/>
              </a:cxn>
              <a:cxn ang="0">
                <a:pos x="connsiteX3" y="connsiteY3"/>
              </a:cxn>
            </a:cxnLst>
            <a:rect l="l" t="t" r="r" b="b"/>
            <a:pathLst>
              <a:path w="87724" h="4520">
                <a:moveTo>
                  <a:pt x="87724" y="0"/>
                </a:moveTo>
                <a:lnTo>
                  <a:pt x="1" y="4520"/>
                </a:lnTo>
                <a:lnTo>
                  <a:pt x="0" y="4520"/>
                </a:lnTo>
                <a:lnTo>
                  <a:pt x="8772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cxnSp>
        <p:nvCxnSpPr>
          <p:cNvPr id="69" name="Straight Connector 68">
            <a:extLst>
              <a:ext uri="{FF2B5EF4-FFF2-40B4-BE49-F238E27FC236}">
                <a16:creationId xmlns:a16="http://schemas.microsoft.com/office/drawing/2014/main" id="{1B1A1581-B7FE-4B34-8DFC-C5210725DCB5}"/>
              </a:ext>
            </a:extLst>
          </p:cNvPr>
          <p:cNvCxnSpPr>
            <a:cxnSpLocks/>
          </p:cNvCxnSpPr>
          <p:nvPr/>
        </p:nvCxnSpPr>
        <p:spPr bwMode="auto">
          <a:xfrm>
            <a:off x="7285762" y="3801214"/>
            <a:ext cx="2651760" cy="0"/>
          </a:xfrm>
          <a:prstGeom prst="line">
            <a:avLst/>
          </a:prstGeom>
          <a:solidFill>
            <a:srgbClr val="00529B"/>
          </a:solidFill>
          <a:ln w="28575" cap="flat" cmpd="sng" algn="ctr">
            <a:solidFill>
              <a:srgbClr val="FFFFFF"/>
            </a:solidFill>
            <a:prstDash val="dash"/>
            <a:round/>
            <a:headEnd type="none" w="med" len="med"/>
            <a:tailEnd type="none" w="lg" len="lg"/>
          </a:ln>
          <a:effectLst/>
        </p:spPr>
      </p:cxnSp>
      <p:grpSp>
        <p:nvGrpSpPr>
          <p:cNvPr id="70" name="Group 69">
            <a:extLst>
              <a:ext uri="{FF2B5EF4-FFF2-40B4-BE49-F238E27FC236}">
                <a16:creationId xmlns:a16="http://schemas.microsoft.com/office/drawing/2014/main" id="{DE685CF9-C77D-4D6F-8B8C-A4D6E09179AD}"/>
              </a:ext>
            </a:extLst>
          </p:cNvPr>
          <p:cNvGrpSpPr/>
          <p:nvPr/>
        </p:nvGrpSpPr>
        <p:grpSpPr>
          <a:xfrm>
            <a:off x="8543643" y="3572423"/>
            <a:ext cx="1201181" cy="963562"/>
            <a:chOff x="8458840" y="4407535"/>
            <a:chExt cx="1201181" cy="963562"/>
          </a:xfrm>
        </p:grpSpPr>
        <p:sp>
          <p:nvSpPr>
            <p:cNvPr id="71" name="TextBox 70">
              <a:extLst>
                <a:ext uri="{FF2B5EF4-FFF2-40B4-BE49-F238E27FC236}">
                  <a16:creationId xmlns:a16="http://schemas.microsoft.com/office/drawing/2014/main" id="{F1531125-8AAC-4D75-8D33-FB353173C75A}"/>
                </a:ext>
              </a:extLst>
            </p:cNvPr>
            <p:cNvSpPr txBox="1"/>
            <p:nvPr/>
          </p:nvSpPr>
          <p:spPr>
            <a:xfrm>
              <a:off x="8458840" y="4946365"/>
              <a:ext cx="1201181" cy="424732"/>
            </a:xfrm>
            <a:prstGeom prst="rect">
              <a:avLst/>
            </a:prstGeom>
            <a:noFill/>
          </p:spPr>
          <p:txBody>
            <a:bodyPr wrap="square"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pPr algn="ctr"/>
              <a:r>
                <a:rPr lang="en-US"/>
                <a:t>Expand the CTS Hub</a:t>
              </a:r>
            </a:p>
          </p:txBody>
        </p:sp>
        <p:grpSp>
          <p:nvGrpSpPr>
            <p:cNvPr id="72" name="Group 71">
              <a:extLst>
                <a:ext uri="{FF2B5EF4-FFF2-40B4-BE49-F238E27FC236}">
                  <a16:creationId xmlns:a16="http://schemas.microsoft.com/office/drawing/2014/main" id="{3BA6C07B-E3E7-4BFA-A1CD-A82EB8BE4FC4}"/>
                </a:ext>
              </a:extLst>
            </p:cNvPr>
            <p:cNvGrpSpPr/>
            <p:nvPr/>
          </p:nvGrpSpPr>
          <p:grpSpPr>
            <a:xfrm>
              <a:off x="8830830" y="4407535"/>
              <a:ext cx="457200" cy="457200"/>
              <a:chOff x="6968860" y="6253381"/>
              <a:chExt cx="457200" cy="457200"/>
            </a:xfrm>
          </p:grpSpPr>
          <p:sp>
            <p:nvSpPr>
              <p:cNvPr id="73" name="Oval 72">
                <a:extLst>
                  <a:ext uri="{FF2B5EF4-FFF2-40B4-BE49-F238E27FC236}">
                    <a16:creationId xmlns:a16="http://schemas.microsoft.com/office/drawing/2014/main" id="{0507EE92-DA4D-47ED-BBB7-494DBA32A5F3}"/>
                  </a:ext>
                </a:extLst>
              </p:cNvPr>
              <p:cNvSpPr/>
              <p:nvPr/>
            </p:nvSpPr>
            <p:spPr bwMode="auto">
              <a:xfrm>
                <a:off x="6968860" y="6253381"/>
                <a:ext cx="457200" cy="457200"/>
              </a:xfrm>
              <a:prstGeom prst="ellipse">
                <a:avLst/>
              </a:prstGeom>
              <a:solidFill>
                <a:srgbClr val="D0DEEA"/>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sp>
            <p:nvSpPr>
              <p:cNvPr id="74" name="Freeform: Shape 73">
                <a:extLst>
                  <a:ext uri="{FF2B5EF4-FFF2-40B4-BE49-F238E27FC236}">
                    <a16:creationId xmlns:a16="http://schemas.microsoft.com/office/drawing/2014/main" id="{08399EC9-634A-44AB-841B-24B5DAB6EE54}"/>
                  </a:ext>
                </a:extLst>
              </p:cNvPr>
              <p:cNvSpPr>
                <a:spLocks noChangeAspect="1"/>
              </p:cNvSpPr>
              <p:nvPr/>
            </p:nvSpPr>
            <p:spPr bwMode="gray">
              <a:xfrm>
                <a:off x="7060300" y="6369314"/>
                <a:ext cx="274320" cy="225335"/>
              </a:xfrm>
              <a:custGeom>
                <a:avLst/>
                <a:gdLst>
                  <a:gd name="connsiteX0" fmla="*/ 403193 w 533400"/>
                  <a:gd name="connsiteY0" fmla="*/ 262604 h 438150"/>
                  <a:gd name="connsiteX1" fmla="*/ 456438 w 533400"/>
                  <a:gd name="connsiteY1" fmla="*/ 315849 h 438150"/>
                  <a:gd name="connsiteX2" fmla="*/ 340233 w 533400"/>
                  <a:gd name="connsiteY2" fmla="*/ 315849 h 438150"/>
                  <a:gd name="connsiteX3" fmla="*/ 264795 w 533400"/>
                  <a:gd name="connsiteY3" fmla="*/ 220599 h 438150"/>
                  <a:gd name="connsiteX4" fmla="*/ 340233 w 533400"/>
                  <a:gd name="connsiteY4" fmla="*/ 125349 h 438150"/>
                  <a:gd name="connsiteX5" fmla="*/ 456438 w 533400"/>
                  <a:gd name="connsiteY5" fmla="*/ 125349 h 438150"/>
                  <a:gd name="connsiteX6" fmla="*/ 403193 w 533400"/>
                  <a:gd name="connsiteY6" fmla="*/ 178594 h 438150"/>
                  <a:gd name="connsiteX7" fmla="*/ 430149 w 533400"/>
                  <a:gd name="connsiteY7" fmla="*/ 205454 h 438150"/>
                  <a:gd name="connsiteX8" fmla="*/ 529400 w 533400"/>
                  <a:gd name="connsiteY8" fmla="*/ 106299 h 438150"/>
                  <a:gd name="connsiteX9" fmla="*/ 430149 w 533400"/>
                  <a:gd name="connsiteY9" fmla="*/ 7144 h 438150"/>
                  <a:gd name="connsiteX10" fmla="*/ 403193 w 533400"/>
                  <a:gd name="connsiteY10" fmla="*/ 34004 h 438150"/>
                  <a:gd name="connsiteX11" fmla="*/ 456438 w 533400"/>
                  <a:gd name="connsiteY11" fmla="*/ 87249 h 438150"/>
                  <a:gd name="connsiteX12" fmla="*/ 321755 w 533400"/>
                  <a:gd name="connsiteY12" fmla="*/ 87249 h 438150"/>
                  <a:gd name="connsiteX13" fmla="*/ 240506 w 533400"/>
                  <a:gd name="connsiteY13" fmla="*/ 189929 h 438150"/>
                  <a:gd name="connsiteX14" fmla="*/ 159258 w 533400"/>
                  <a:gd name="connsiteY14" fmla="*/ 87249 h 438150"/>
                  <a:gd name="connsiteX15" fmla="*/ 7144 w 533400"/>
                  <a:gd name="connsiteY15" fmla="*/ 87249 h 438150"/>
                  <a:gd name="connsiteX16" fmla="*/ 7144 w 533400"/>
                  <a:gd name="connsiteY16" fmla="*/ 125349 h 438150"/>
                  <a:gd name="connsiteX17" fmla="*/ 140779 w 533400"/>
                  <a:gd name="connsiteY17" fmla="*/ 125349 h 438150"/>
                  <a:gd name="connsiteX18" fmla="*/ 216218 w 533400"/>
                  <a:gd name="connsiteY18" fmla="*/ 220599 h 438150"/>
                  <a:gd name="connsiteX19" fmla="*/ 140779 w 533400"/>
                  <a:gd name="connsiteY19" fmla="*/ 315849 h 438150"/>
                  <a:gd name="connsiteX20" fmla="*/ 7144 w 533400"/>
                  <a:gd name="connsiteY20" fmla="*/ 315849 h 438150"/>
                  <a:gd name="connsiteX21" fmla="*/ 7144 w 533400"/>
                  <a:gd name="connsiteY21" fmla="*/ 353949 h 438150"/>
                  <a:gd name="connsiteX22" fmla="*/ 159258 w 533400"/>
                  <a:gd name="connsiteY22" fmla="*/ 353949 h 438150"/>
                  <a:gd name="connsiteX23" fmla="*/ 240506 w 533400"/>
                  <a:gd name="connsiteY23" fmla="*/ 251269 h 438150"/>
                  <a:gd name="connsiteX24" fmla="*/ 321755 w 533400"/>
                  <a:gd name="connsiteY24" fmla="*/ 353949 h 438150"/>
                  <a:gd name="connsiteX25" fmla="*/ 456438 w 533400"/>
                  <a:gd name="connsiteY25" fmla="*/ 353949 h 438150"/>
                  <a:gd name="connsiteX26" fmla="*/ 403193 w 533400"/>
                  <a:gd name="connsiteY26" fmla="*/ 407194 h 438150"/>
                  <a:gd name="connsiteX27" fmla="*/ 430149 w 533400"/>
                  <a:gd name="connsiteY27" fmla="*/ 434054 h 438150"/>
                  <a:gd name="connsiteX28" fmla="*/ 529400 w 533400"/>
                  <a:gd name="connsiteY28" fmla="*/ 334899 h 438150"/>
                  <a:gd name="connsiteX29" fmla="*/ 430149 w 533400"/>
                  <a:gd name="connsiteY29" fmla="*/ 23574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3400" h="438150">
                    <a:moveTo>
                      <a:pt x="403193" y="262604"/>
                    </a:moveTo>
                    <a:lnTo>
                      <a:pt x="456438" y="315849"/>
                    </a:lnTo>
                    <a:lnTo>
                      <a:pt x="340233" y="315849"/>
                    </a:lnTo>
                    <a:lnTo>
                      <a:pt x="264795" y="220599"/>
                    </a:lnTo>
                    <a:lnTo>
                      <a:pt x="340233" y="125349"/>
                    </a:lnTo>
                    <a:lnTo>
                      <a:pt x="456438" y="125349"/>
                    </a:lnTo>
                    <a:lnTo>
                      <a:pt x="403193" y="178594"/>
                    </a:lnTo>
                    <a:lnTo>
                      <a:pt x="430149" y="205454"/>
                    </a:lnTo>
                    <a:lnTo>
                      <a:pt x="529400" y="106299"/>
                    </a:lnTo>
                    <a:lnTo>
                      <a:pt x="430149" y="7144"/>
                    </a:lnTo>
                    <a:lnTo>
                      <a:pt x="403193" y="34004"/>
                    </a:lnTo>
                    <a:lnTo>
                      <a:pt x="456438" y="87249"/>
                    </a:lnTo>
                    <a:lnTo>
                      <a:pt x="321755" y="87249"/>
                    </a:lnTo>
                    <a:lnTo>
                      <a:pt x="240506" y="189929"/>
                    </a:lnTo>
                    <a:lnTo>
                      <a:pt x="159258" y="87249"/>
                    </a:lnTo>
                    <a:lnTo>
                      <a:pt x="7144" y="87249"/>
                    </a:lnTo>
                    <a:lnTo>
                      <a:pt x="7144" y="125349"/>
                    </a:lnTo>
                    <a:lnTo>
                      <a:pt x="140779" y="125349"/>
                    </a:lnTo>
                    <a:lnTo>
                      <a:pt x="216218" y="220599"/>
                    </a:lnTo>
                    <a:lnTo>
                      <a:pt x="140779" y="315849"/>
                    </a:lnTo>
                    <a:lnTo>
                      <a:pt x="7144" y="315849"/>
                    </a:lnTo>
                    <a:lnTo>
                      <a:pt x="7144" y="353949"/>
                    </a:lnTo>
                    <a:lnTo>
                      <a:pt x="159258" y="353949"/>
                    </a:lnTo>
                    <a:lnTo>
                      <a:pt x="240506" y="251269"/>
                    </a:lnTo>
                    <a:lnTo>
                      <a:pt x="321755" y="353949"/>
                    </a:lnTo>
                    <a:lnTo>
                      <a:pt x="456438" y="353949"/>
                    </a:lnTo>
                    <a:lnTo>
                      <a:pt x="403193" y="407194"/>
                    </a:lnTo>
                    <a:lnTo>
                      <a:pt x="430149" y="434054"/>
                    </a:lnTo>
                    <a:lnTo>
                      <a:pt x="529400" y="334899"/>
                    </a:lnTo>
                    <a:lnTo>
                      <a:pt x="430149" y="235744"/>
                    </a:lnTo>
                    <a:close/>
                  </a:path>
                </a:pathLst>
              </a:custGeom>
              <a:solidFill>
                <a:srgbClr val="002856"/>
              </a:solidFill>
              <a:ln w="9525" cap="flat">
                <a:noFill/>
                <a:prstDash val="solid"/>
                <a:miter/>
              </a:ln>
            </p:spPr>
            <p:txBody>
              <a:bodyPr rtlCol="0" anchor="ctr"/>
              <a:lstStyle/>
              <a:p>
                <a:endParaRPr lang="en-US"/>
              </a:p>
            </p:txBody>
          </p:sp>
        </p:grpSp>
      </p:grpSp>
      <p:cxnSp>
        <p:nvCxnSpPr>
          <p:cNvPr id="36" name="Straight Connector 35">
            <a:extLst>
              <a:ext uri="{FF2B5EF4-FFF2-40B4-BE49-F238E27FC236}">
                <a16:creationId xmlns:a16="http://schemas.microsoft.com/office/drawing/2014/main" id="{7CAB1CE4-D15C-4D94-8846-2EFB49725156}"/>
              </a:ext>
            </a:extLst>
          </p:cNvPr>
          <p:cNvCxnSpPr>
            <a:cxnSpLocks/>
          </p:cNvCxnSpPr>
          <p:nvPr/>
        </p:nvCxnSpPr>
        <p:spPr bwMode="auto">
          <a:xfrm flipH="1" flipV="1">
            <a:off x="2623747" y="2465308"/>
            <a:ext cx="1920240" cy="0"/>
          </a:xfrm>
          <a:prstGeom prst="line">
            <a:avLst/>
          </a:prstGeom>
          <a:solidFill>
            <a:srgbClr val="00529B"/>
          </a:solidFill>
          <a:ln w="28575" cap="flat" cmpd="sng" algn="ctr">
            <a:solidFill>
              <a:srgbClr val="FFFFFF"/>
            </a:solidFill>
            <a:prstDash val="dash"/>
            <a:round/>
            <a:headEnd type="none" w="med" len="med"/>
            <a:tailEnd type="none" w="lg" len="lg"/>
          </a:ln>
          <a:effectLst/>
        </p:spPr>
      </p:cxnSp>
      <p:sp>
        <p:nvSpPr>
          <p:cNvPr id="17" name="TextBox 16">
            <a:extLst>
              <a:ext uri="{FF2B5EF4-FFF2-40B4-BE49-F238E27FC236}">
                <a16:creationId xmlns:a16="http://schemas.microsoft.com/office/drawing/2014/main" id="{33443C39-631C-4418-9403-E38C6E5E39A9}"/>
              </a:ext>
            </a:extLst>
          </p:cNvPr>
          <p:cNvSpPr txBox="1"/>
          <p:nvPr/>
        </p:nvSpPr>
        <p:spPr>
          <a:xfrm>
            <a:off x="2825216" y="2214841"/>
            <a:ext cx="1085985"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Establish a Common Taxonomy</a:t>
            </a:r>
          </a:p>
        </p:txBody>
      </p:sp>
      <p:sp>
        <p:nvSpPr>
          <p:cNvPr id="121" name="Rectangle 120">
            <a:extLst>
              <a:ext uri="{FF2B5EF4-FFF2-40B4-BE49-F238E27FC236}">
                <a16:creationId xmlns:a16="http://schemas.microsoft.com/office/drawing/2014/main" id="{D1241F3A-12D2-4597-92CB-46C3AFC162EF}"/>
              </a:ext>
            </a:extLst>
          </p:cNvPr>
          <p:cNvSpPr/>
          <p:nvPr/>
        </p:nvSpPr>
        <p:spPr bwMode="auto">
          <a:xfrm rot="16200000" flipH="1">
            <a:off x="3884506" y="3106663"/>
            <a:ext cx="210312" cy="292608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23" name="Block Arc 122">
            <a:extLst>
              <a:ext uri="{FF2B5EF4-FFF2-40B4-BE49-F238E27FC236}">
                <a16:creationId xmlns:a16="http://schemas.microsoft.com/office/drawing/2014/main" id="{98062169-1A1E-4F4C-B3F3-634C1F9B7671}"/>
              </a:ext>
            </a:extLst>
          </p:cNvPr>
          <p:cNvSpPr/>
          <p:nvPr/>
        </p:nvSpPr>
        <p:spPr bwMode="auto">
          <a:xfrm rot="4478791">
            <a:off x="6245453" y="2968130"/>
            <a:ext cx="596073" cy="2842410"/>
          </a:xfrm>
          <a:custGeom>
            <a:avLst/>
            <a:gdLst>
              <a:gd name="connsiteX0" fmla="*/ 328079 w 2184566"/>
              <a:gd name="connsiteY0" fmla="*/ 305514 h 2140180"/>
              <a:gd name="connsiteX1" fmla="*/ 1621418 w 2184566"/>
              <a:gd name="connsiteY1" fmla="*/ 133943 h 2140180"/>
              <a:gd name="connsiteX2" fmla="*/ 2151116 w 2184566"/>
              <a:gd name="connsiteY2" fmla="*/ 1332883 h 2140180"/>
              <a:gd name="connsiteX3" fmla="*/ 1946320 w 2184566"/>
              <a:gd name="connsiteY3" fmla="*/ 1282054 h 2140180"/>
              <a:gd name="connsiteX4" fmla="*/ 1517578 w 2184566"/>
              <a:gd name="connsiteY4" fmla="*/ 317657 h 2140180"/>
              <a:gd name="connsiteX5" fmla="*/ 477272 w 2184566"/>
              <a:gd name="connsiteY5" fmla="*/ 454779 h 2140180"/>
              <a:gd name="connsiteX6" fmla="*/ 328079 w 2184566"/>
              <a:gd name="connsiteY6" fmla="*/ 305514 h 2140180"/>
              <a:gd name="connsiteX0" fmla="*/ 0 w 2390894"/>
              <a:gd name="connsiteY0" fmla="*/ 704037 h 1731406"/>
              <a:gd name="connsiteX1" fmla="*/ 2256540 w 2390894"/>
              <a:gd name="connsiteY1" fmla="*/ 54443 h 1731406"/>
              <a:gd name="connsiteX2" fmla="*/ 1823037 w 2390894"/>
              <a:gd name="connsiteY2" fmla="*/ 1731406 h 1731406"/>
              <a:gd name="connsiteX3" fmla="*/ 1618241 w 2390894"/>
              <a:gd name="connsiteY3" fmla="*/ 1680577 h 1731406"/>
              <a:gd name="connsiteX4" fmla="*/ 1189499 w 2390894"/>
              <a:gd name="connsiteY4" fmla="*/ 716180 h 1731406"/>
              <a:gd name="connsiteX5" fmla="*/ 149193 w 2390894"/>
              <a:gd name="connsiteY5" fmla="*/ 853302 h 1731406"/>
              <a:gd name="connsiteX6" fmla="*/ 0 w 2390894"/>
              <a:gd name="connsiteY6" fmla="*/ 704037 h 1731406"/>
              <a:gd name="connsiteX0" fmla="*/ 0 w 2280416"/>
              <a:gd name="connsiteY0" fmla="*/ 811203 h 1838572"/>
              <a:gd name="connsiteX1" fmla="*/ 2256540 w 2280416"/>
              <a:gd name="connsiteY1" fmla="*/ 161609 h 1838572"/>
              <a:gd name="connsiteX2" fmla="*/ 1823037 w 2280416"/>
              <a:gd name="connsiteY2" fmla="*/ 1838572 h 1838572"/>
              <a:gd name="connsiteX3" fmla="*/ 1618241 w 2280416"/>
              <a:gd name="connsiteY3" fmla="*/ 1787743 h 1838572"/>
              <a:gd name="connsiteX4" fmla="*/ 1189499 w 2280416"/>
              <a:gd name="connsiteY4" fmla="*/ 823346 h 1838572"/>
              <a:gd name="connsiteX5" fmla="*/ 149193 w 2280416"/>
              <a:gd name="connsiteY5" fmla="*/ 960468 h 1838572"/>
              <a:gd name="connsiteX6" fmla="*/ 0 w 2280416"/>
              <a:gd name="connsiteY6" fmla="*/ 811203 h 1838572"/>
              <a:gd name="connsiteX0" fmla="*/ 1853256 w 2131458"/>
              <a:gd name="connsiteY0" fmla="*/ 73830 h 2725182"/>
              <a:gd name="connsiteX1" fmla="*/ 2107347 w 2131458"/>
              <a:gd name="connsiteY1" fmla="*/ 1048219 h 2725182"/>
              <a:gd name="connsiteX2" fmla="*/ 1673844 w 2131458"/>
              <a:gd name="connsiteY2" fmla="*/ 2725182 h 2725182"/>
              <a:gd name="connsiteX3" fmla="*/ 1469048 w 2131458"/>
              <a:gd name="connsiteY3" fmla="*/ 2674353 h 2725182"/>
              <a:gd name="connsiteX4" fmla="*/ 1040306 w 2131458"/>
              <a:gd name="connsiteY4" fmla="*/ 1709956 h 2725182"/>
              <a:gd name="connsiteX5" fmla="*/ 0 w 2131458"/>
              <a:gd name="connsiteY5" fmla="*/ 1847078 h 2725182"/>
              <a:gd name="connsiteX6" fmla="*/ 1853256 w 2131458"/>
              <a:gd name="connsiteY6" fmla="*/ 73830 h 2725182"/>
              <a:gd name="connsiteX0" fmla="*/ 1853256 w 2130780"/>
              <a:gd name="connsiteY0" fmla="*/ 0 h 2651352"/>
              <a:gd name="connsiteX1" fmla="*/ 2107347 w 2130780"/>
              <a:gd name="connsiteY1" fmla="*/ 974389 h 2651352"/>
              <a:gd name="connsiteX2" fmla="*/ 1673844 w 2130780"/>
              <a:gd name="connsiteY2" fmla="*/ 2651352 h 2651352"/>
              <a:gd name="connsiteX3" fmla="*/ 1469048 w 2130780"/>
              <a:gd name="connsiteY3" fmla="*/ 2600523 h 2651352"/>
              <a:gd name="connsiteX4" fmla="*/ 1040306 w 2130780"/>
              <a:gd name="connsiteY4" fmla="*/ 1636126 h 2651352"/>
              <a:gd name="connsiteX5" fmla="*/ 0 w 2130780"/>
              <a:gd name="connsiteY5" fmla="*/ 1773248 h 2651352"/>
              <a:gd name="connsiteX6" fmla="*/ 1853256 w 2130780"/>
              <a:gd name="connsiteY6" fmla="*/ 0 h 2651352"/>
              <a:gd name="connsiteX0" fmla="*/ 1853256 w 2130780"/>
              <a:gd name="connsiteY0" fmla="*/ 0 h 2651352"/>
              <a:gd name="connsiteX1" fmla="*/ 2107347 w 2130780"/>
              <a:gd name="connsiteY1" fmla="*/ 974389 h 2651352"/>
              <a:gd name="connsiteX2" fmla="*/ 1673844 w 2130780"/>
              <a:gd name="connsiteY2" fmla="*/ 2651352 h 2651352"/>
              <a:gd name="connsiteX3" fmla="*/ 1469048 w 2130780"/>
              <a:gd name="connsiteY3" fmla="*/ 2600523 h 2651352"/>
              <a:gd name="connsiteX4" fmla="*/ 1285295 w 2130780"/>
              <a:gd name="connsiteY4" fmla="*/ 1721285 h 2651352"/>
              <a:gd name="connsiteX5" fmla="*/ 0 w 2130780"/>
              <a:gd name="connsiteY5" fmla="*/ 1773248 h 2651352"/>
              <a:gd name="connsiteX6" fmla="*/ 1853256 w 2130780"/>
              <a:gd name="connsiteY6" fmla="*/ 0 h 2651352"/>
              <a:gd name="connsiteX0" fmla="*/ 638869 w 916393"/>
              <a:gd name="connsiteY0" fmla="*/ 0 h 2651352"/>
              <a:gd name="connsiteX1" fmla="*/ 892960 w 916393"/>
              <a:gd name="connsiteY1" fmla="*/ 974389 h 2651352"/>
              <a:gd name="connsiteX2" fmla="*/ 459457 w 916393"/>
              <a:gd name="connsiteY2" fmla="*/ 2651352 h 2651352"/>
              <a:gd name="connsiteX3" fmla="*/ 254661 w 916393"/>
              <a:gd name="connsiteY3" fmla="*/ 2600523 h 2651352"/>
              <a:gd name="connsiteX4" fmla="*/ 70908 w 916393"/>
              <a:gd name="connsiteY4" fmla="*/ 1721285 h 2651352"/>
              <a:gd name="connsiteX5" fmla="*/ 460680 w 916393"/>
              <a:gd name="connsiteY5" fmla="*/ 461931 h 2651352"/>
              <a:gd name="connsiteX6" fmla="*/ 638869 w 916393"/>
              <a:gd name="connsiteY6" fmla="*/ 0 h 2651352"/>
              <a:gd name="connsiteX0" fmla="*/ 652847 w 930371"/>
              <a:gd name="connsiteY0" fmla="*/ 0 h 2651352"/>
              <a:gd name="connsiteX1" fmla="*/ 906938 w 930371"/>
              <a:gd name="connsiteY1" fmla="*/ 974389 h 2651352"/>
              <a:gd name="connsiteX2" fmla="*/ 473435 w 930371"/>
              <a:gd name="connsiteY2" fmla="*/ 2651352 h 2651352"/>
              <a:gd name="connsiteX3" fmla="*/ 268639 w 930371"/>
              <a:gd name="connsiteY3" fmla="*/ 2600523 h 2651352"/>
              <a:gd name="connsiteX4" fmla="*/ 84886 w 930371"/>
              <a:gd name="connsiteY4" fmla="*/ 1721285 h 2651352"/>
              <a:gd name="connsiteX5" fmla="*/ 474658 w 930371"/>
              <a:gd name="connsiteY5" fmla="*/ 461931 h 2651352"/>
              <a:gd name="connsiteX6" fmla="*/ 652847 w 930371"/>
              <a:gd name="connsiteY6" fmla="*/ 0 h 2651352"/>
              <a:gd name="connsiteX0" fmla="*/ 645674 w 923198"/>
              <a:gd name="connsiteY0" fmla="*/ 0 h 2651352"/>
              <a:gd name="connsiteX1" fmla="*/ 899765 w 923198"/>
              <a:gd name="connsiteY1" fmla="*/ 974389 h 2651352"/>
              <a:gd name="connsiteX2" fmla="*/ 466262 w 923198"/>
              <a:gd name="connsiteY2" fmla="*/ 2651352 h 2651352"/>
              <a:gd name="connsiteX3" fmla="*/ 261466 w 923198"/>
              <a:gd name="connsiteY3" fmla="*/ 2600523 h 2651352"/>
              <a:gd name="connsiteX4" fmla="*/ 77713 w 923198"/>
              <a:gd name="connsiteY4" fmla="*/ 1721285 h 2651352"/>
              <a:gd name="connsiteX5" fmla="*/ 561611 w 923198"/>
              <a:gd name="connsiteY5" fmla="*/ 282025 h 2651352"/>
              <a:gd name="connsiteX6" fmla="*/ 645674 w 923198"/>
              <a:gd name="connsiteY6" fmla="*/ 0 h 2651352"/>
              <a:gd name="connsiteX0" fmla="*/ 630672 w 918395"/>
              <a:gd name="connsiteY0" fmla="*/ 0 h 2727037"/>
              <a:gd name="connsiteX1" fmla="*/ 899765 w 918395"/>
              <a:gd name="connsiteY1" fmla="*/ 1050074 h 2727037"/>
              <a:gd name="connsiteX2" fmla="*/ 466262 w 918395"/>
              <a:gd name="connsiteY2" fmla="*/ 2727037 h 2727037"/>
              <a:gd name="connsiteX3" fmla="*/ 261466 w 918395"/>
              <a:gd name="connsiteY3" fmla="*/ 2676208 h 2727037"/>
              <a:gd name="connsiteX4" fmla="*/ 77713 w 918395"/>
              <a:gd name="connsiteY4" fmla="*/ 1796970 h 2727037"/>
              <a:gd name="connsiteX5" fmla="*/ 561611 w 918395"/>
              <a:gd name="connsiteY5" fmla="*/ 357710 h 2727037"/>
              <a:gd name="connsiteX6" fmla="*/ 630672 w 918395"/>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306108 w 656929"/>
              <a:gd name="connsiteY4" fmla="*/ 1153198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364506 w 656929"/>
              <a:gd name="connsiteY4" fmla="*/ 1070829 h 2727037"/>
              <a:gd name="connsiteX5" fmla="*/ 300145 w 656929"/>
              <a:gd name="connsiteY5" fmla="*/ 357710 h 2727037"/>
              <a:gd name="connsiteX6" fmla="*/ 369206 w 65692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0145 w 625089"/>
              <a:gd name="connsiteY5" fmla="*/ 35771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295746 w 625089"/>
              <a:gd name="connsiteY5" fmla="*/ 275992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295746 w 625089"/>
              <a:gd name="connsiteY5" fmla="*/ 275992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4127"/>
              <a:gd name="connsiteY0" fmla="*/ 0 h 2743673"/>
              <a:gd name="connsiteX1" fmla="*/ 593774 w 604127"/>
              <a:gd name="connsiteY1" fmla="*/ 984174 h 2743673"/>
              <a:gd name="connsiteX2" fmla="*/ 200228 w 604127"/>
              <a:gd name="connsiteY2" fmla="*/ 2743673 h 2743673"/>
              <a:gd name="connsiteX3" fmla="*/ 0 w 604127"/>
              <a:gd name="connsiteY3" fmla="*/ 2676208 h 2743673"/>
              <a:gd name="connsiteX4" fmla="*/ 382286 w 604127"/>
              <a:gd name="connsiteY4" fmla="*/ 1071238 h 2743673"/>
              <a:gd name="connsiteX5" fmla="*/ 308309 w 604127"/>
              <a:gd name="connsiteY5" fmla="*/ 230240 h 2743673"/>
              <a:gd name="connsiteX6" fmla="*/ 369206 w 604127"/>
              <a:gd name="connsiteY6" fmla="*/ 0 h 2743673"/>
              <a:gd name="connsiteX0" fmla="*/ 369206 w 603897"/>
              <a:gd name="connsiteY0" fmla="*/ 0 h 2731195"/>
              <a:gd name="connsiteX1" fmla="*/ 593774 w 603897"/>
              <a:gd name="connsiteY1" fmla="*/ 984174 h 2731195"/>
              <a:gd name="connsiteX2" fmla="*/ 203654 w 603897"/>
              <a:gd name="connsiteY2" fmla="*/ 2731195 h 2731195"/>
              <a:gd name="connsiteX3" fmla="*/ 0 w 603897"/>
              <a:gd name="connsiteY3" fmla="*/ 2676208 h 2731195"/>
              <a:gd name="connsiteX4" fmla="*/ 382286 w 603897"/>
              <a:gd name="connsiteY4" fmla="*/ 1071238 h 2731195"/>
              <a:gd name="connsiteX5" fmla="*/ 308309 w 603897"/>
              <a:gd name="connsiteY5" fmla="*/ 230240 h 2731195"/>
              <a:gd name="connsiteX6" fmla="*/ 369206 w 603897"/>
              <a:gd name="connsiteY6" fmla="*/ 0 h 2731195"/>
              <a:gd name="connsiteX0" fmla="*/ 369206 w 603897"/>
              <a:gd name="connsiteY0" fmla="*/ 0 h 2731195"/>
              <a:gd name="connsiteX1" fmla="*/ 593774 w 603897"/>
              <a:gd name="connsiteY1" fmla="*/ 984174 h 2731195"/>
              <a:gd name="connsiteX2" fmla="*/ 203654 w 603897"/>
              <a:gd name="connsiteY2" fmla="*/ 2731195 h 2731195"/>
              <a:gd name="connsiteX3" fmla="*/ 0 w 603897"/>
              <a:gd name="connsiteY3" fmla="*/ 2676208 h 2731195"/>
              <a:gd name="connsiteX4" fmla="*/ 382286 w 603897"/>
              <a:gd name="connsiteY4" fmla="*/ 1071238 h 2731195"/>
              <a:gd name="connsiteX5" fmla="*/ 308309 w 603897"/>
              <a:gd name="connsiteY5" fmla="*/ 230240 h 2731195"/>
              <a:gd name="connsiteX6" fmla="*/ 369206 w 603897"/>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82286 w 597721"/>
              <a:gd name="connsiteY4" fmla="*/ 1071238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3575 w 597721"/>
              <a:gd name="connsiteY4" fmla="*/ 100999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0488 w 597721"/>
              <a:gd name="connsiteY4" fmla="*/ 825757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0488 w 597721"/>
              <a:gd name="connsiteY4" fmla="*/ 825757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6016"/>
              <a:gd name="connsiteY0" fmla="*/ 0 h 2731195"/>
              <a:gd name="connsiteX1" fmla="*/ 593774 w 596016"/>
              <a:gd name="connsiteY1" fmla="*/ 984174 h 2731195"/>
              <a:gd name="connsiteX2" fmla="*/ 203654 w 596016"/>
              <a:gd name="connsiteY2" fmla="*/ 2731195 h 2731195"/>
              <a:gd name="connsiteX3" fmla="*/ 0 w 596016"/>
              <a:gd name="connsiteY3" fmla="*/ 2676208 h 2731195"/>
              <a:gd name="connsiteX4" fmla="*/ 408807 w 596016"/>
              <a:gd name="connsiteY4" fmla="*/ 828041 h 2731195"/>
              <a:gd name="connsiteX5" fmla="*/ 308309 w 596016"/>
              <a:gd name="connsiteY5" fmla="*/ 230240 h 2731195"/>
              <a:gd name="connsiteX6" fmla="*/ 369206 w 596016"/>
              <a:gd name="connsiteY6" fmla="*/ 0 h 2731195"/>
              <a:gd name="connsiteX0" fmla="*/ 369206 w 595415"/>
              <a:gd name="connsiteY0" fmla="*/ 0 h 2731195"/>
              <a:gd name="connsiteX1" fmla="*/ 593774 w 595415"/>
              <a:gd name="connsiteY1" fmla="*/ 984174 h 2731195"/>
              <a:gd name="connsiteX2" fmla="*/ 203654 w 595415"/>
              <a:gd name="connsiteY2" fmla="*/ 2731195 h 2731195"/>
              <a:gd name="connsiteX3" fmla="*/ 0 w 595415"/>
              <a:gd name="connsiteY3" fmla="*/ 2676208 h 2731195"/>
              <a:gd name="connsiteX4" fmla="*/ 408807 w 595415"/>
              <a:gd name="connsiteY4" fmla="*/ 828041 h 2731195"/>
              <a:gd name="connsiteX5" fmla="*/ 308309 w 595415"/>
              <a:gd name="connsiteY5" fmla="*/ 230240 h 2731195"/>
              <a:gd name="connsiteX6" fmla="*/ 369206 w 595415"/>
              <a:gd name="connsiteY6" fmla="*/ 0 h 2731195"/>
              <a:gd name="connsiteX0" fmla="*/ 369206 w 595415"/>
              <a:gd name="connsiteY0" fmla="*/ 0 h 2731195"/>
              <a:gd name="connsiteX1" fmla="*/ 593774 w 595415"/>
              <a:gd name="connsiteY1" fmla="*/ 984174 h 2731195"/>
              <a:gd name="connsiteX2" fmla="*/ 203654 w 595415"/>
              <a:gd name="connsiteY2" fmla="*/ 2731195 h 2731195"/>
              <a:gd name="connsiteX3" fmla="*/ 0 w 595415"/>
              <a:gd name="connsiteY3" fmla="*/ 2676208 h 2731195"/>
              <a:gd name="connsiteX4" fmla="*/ 408807 w 595415"/>
              <a:gd name="connsiteY4" fmla="*/ 828041 h 2731195"/>
              <a:gd name="connsiteX5" fmla="*/ 92215 w 595415"/>
              <a:gd name="connsiteY5" fmla="*/ 108057 h 2731195"/>
              <a:gd name="connsiteX6" fmla="*/ 369206 w 595415"/>
              <a:gd name="connsiteY6" fmla="*/ 0 h 2731195"/>
              <a:gd name="connsiteX0" fmla="*/ 165220 w 593890"/>
              <a:gd name="connsiteY0" fmla="*/ 0 h 2881351"/>
              <a:gd name="connsiteX1" fmla="*/ 593774 w 593890"/>
              <a:gd name="connsiteY1" fmla="*/ 1134330 h 2881351"/>
              <a:gd name="connsiteX2" fmla="*/ 203654 w 593890"/>
              <a:gd name="connsiteY2" fmla="*/ 2881351 h 2881351"/>
              <a:gd name="connsiteX3" fmla="*/ 0 w 593890"/>
              <a:gd name="connsiteY3" fmla="*/ 2826364 h 2881351"/>
              <a:gd name="connsiteX4" fmla="*/ 408807 w 593890"/>
              <a:gd name="connsiteY4" fmla="*/ 978197 h 2881351"/>
              <a:gd name="connsiteX5" fmla="*/ 92215 w 593890"/>
              <a:gd name="connsiteY5" fmla="*/ 258213 h 2881351"/>
              <a:gd name="connsiteX6" fmla="*/ 165220 w 593890"/>
              <a:gd name="connsiteY6" fmla="*/ 0 h 2881351"/>
              <a:gd name="connsiteX0" fmla="*/ 165220 w 593890"/>
              <a:gd name="connsiteY0" fmla="*/ 0 h 2881351"/>
              <a:gd name="connsiteX1" fmla="*/ 593774 w 593890"/>
              <a:gd name="connsiteY1" fmla="*/ 1134330 h 2881351"/>
              <a:gd name="connsiteX2" fmla="*/ 203654 w 593890"/>
              <a:gd name="connsiteY2" fmla="*/ 2881351 h 2881351"/>
              <a:gd name="connsiteX3" fmla="*/ 0 w 593890"/>
              <a:gd name="connsiteY3" fmla="*/ 2826364 h 2881351"/>
              <a:gd name="connsiteX4" fmla="*/ 408807 w 593890"/>
              <a:gd name="connsiteY4" fmla="*/ 978197 h 2881351"/>
              <a:gd name="connsiteX5" fmla="*/ 92215 w 593890"/>
              <a:gd name="connsiteY5" fmla="*/ 258213 h 2881351"/>
              <a:gd name="connsiteX6" fmla="*/ 165220 w 593890"/>
              <a:gd name="connsiteY6" fmla="*/ 0 h 2881351"/>
              <a:gd name="connsiteX0" fmla="*/ 165220 w 593890"/>
              <a:gd name="connsiteY0" fmla="*/ 0 h 2881351"/>
              <a:gd name="connsiteX1" fmla="*/ 593774 w 593890"/>
              <a:gd name="connsiteY1" fmla="*/ 1134330 h 2881351"/>
              <a:gd name="connsiteX2" fmla="*/ 203654 w 593890"/>
              <a:gd name="connsiteY2" fmla="*/ 2881351 h 2881351"/>
              <a:gd name="connsiteX3" fmla="*/ 0 w 593890"/>
              <a:gd name="connsiteY3" fmla="*/ 2826364 h 2881351"/>
              <a:gd name="connsiteX4" fmla="*/ 408807 w 593890"/>
              <a:gd name="connsiteY4" fmla="*/ 978197 h 2881351"/>
              <a:gd name="connsiteX5" fmla="*/ 92215 w 593890"/>
              <a:gd name="connsiteY5" fmla="*/ 258213 h 2881351"/>
              <a:gd name="connsiteX6" fmla="*/ 165220 w 593890"/>
              <a:gd name="connsiteY6" fmla="*/ 0 h 2881351"/>
              <a:gd name="connsiteX0" fmla="*/ 152341 w 593978"/>
              <a:gd name="connsiteY0" fmla="*/ 0 h 2842410"/>
              <a:gd name="connsiteX1" fmla="*/ 593774 w 593978"/>
              <a:gd name="connsiteY1" fmla="*/ 1095389 h 2842410"/>
              <a:gd name="connsiteX2" fmla="*/ 203654 w 593978"/>
              <a:gd name="connsiteY2" fmla="*/ 2842410 h 2842410"/>
              <a:gd name="connsiteX3" fmla="*/ 0 w 593978"/>
              <a:gd name="connsiteY3" fmla="*/ 2787423 h 2842410"/>
              <a:gd name="connsiteX4" fmla="*/ 408807 w 593978"/>
              <a:gd name="connsiteY4" fmla="*/ 939256 h 2842410"/>
              <a:gd name="connsiteX5" fmla="*/ 92215 w 593978"/>
              <a:gd name="connsiteY5" fmla="*/ 219272 h 2842410"/>
              <a:gd name="connsiteX6" fmla="*/ 152341 w 593978"/>
              <a:gd name="connsiteY6" fmla="*/ 0 h 2842410"/>
              <a:gd name="connsiteX0" fmla="*/ 152341 w 593978"/>
              <a:gd name="connsiteY0" fmla="*/ 0 h 2842410"/>
              <a:gd name="connsiteX1" fmla="*/ 593774 w 593978"/>
              <a:gd name="connsiteY1" fmla="*/ 1095389 h 2842410"/>
              <a:gd name="connsiteX2" fmla="*/ 203654 w 593978"/>
              <a:gd name="connsiteY2" fmla="*/ 2842410 h 2842410"/>
              <a:gd name="connsiteX3" fmla="*/ 0 w 593978"/>
              <a:gd name="connsiteY3" fmla="*/ 2787423 h 2842410"/>
              <a:gd name="connsiteX4" fmla="*/ 405437 w 593978"/>
              <a:gd name="connsiteY4" fmla="*/ 927145 h 2842410"/>
              <a:gd name="connsiteX5" fmla="*/ 92215 w 593978"/>
              <a:gd name="connsiteY5" fmla="*/ 219272 h 2842410"/>
              <a:gd name="connsiteX6" fmla="*/ 152341 w 593978"/>
              <a:gd name="connsiteY6" fmla="*/ 0 h 2842410"/>
              <a:gd name="connsiteX0" fmla="*/ 152341 w 593978"/>
              <a:gd name="connsiteY0" fmla="*/ 0 h 2842410"/>
              <a:gd name="connsiteX1" fmla="*/ 593774 w 593978"/>
              <a:gd name="connsiteY1" fmla="*/ 1095389 h 2842410"/>
              <a:gd name="connsiteX2" fmla="*/ 203654 w 593978"/>
              <a:gd name="connsiteY2" fmla="*/ 2842410 h 2842410"/>
              <a:gd name="connsiteX3" fmla="*/ 0 w 593978"/>
              <a:gd name="connsiteY3" fmla="*/ 2787423 h 2842410"/>
              <a:gd name="connsiteX4" fmla="*/ 399749 w 593978"/>
              <a:gd name="connsiteY4" fmla="*/ 947942 h 2842410"/>
              <a:gd name="connsiteX5" fmla="*/ 92215 w 593978"/>
              <a:gd name="connsiteY5" fmla="*/ 219272 h 2842410"/>
              <a:gd name="connsiteX6" fmla="*/ 152341 w 593978"/>
              <a:gd name="connsiteY6" fmla="*/ 0 h 2842410"/>
              <a:gd name="connsiteX0" fmla="*/ 152341 w 593978"/>
              <a:gd name="connsiteY0" fmla="*/ 0 h 2842410"/>
              <a:gd name="connsiteX1" fmla="*/ 593774 w 593978"/>
              <a:gd name="connsiteY1" fmla="*/ 1095389 h 2842410"/>
              <a:gd name="connsiteX2" fmla="*/ 203654 w 593978"/>
              <a:gd name="connsiteY2" fmla="*/ 2842410 h 2842410"/>
              <a:gd name="connsiteX3" fmla="*/ 0 w 593978"/>
              <a:gd name="connsiteY3" fmla="*/ 2787423 h 2842410"/>
              <a:gd name="connsiteX4" fmla="*/ 399749 w 593978"/>
              <a:gd name="connsiteY4" fmla="*/ 947942 h 2842410"/>
              <a:gd name="connsiteX5" fmla="*/ 92215 w 593978"/>
              <a:gd name="connsiteY5" fmla="*/ 219272 h 2842410"/>
              <a:gd name="connsiteX6" fmla="*/ 152341 w 593978"/>
              <a:gd name="connsiteY6" fmla="*/ 0 h 2842410"/>
              <a:gd name="connsiteX0" fmla="*/ 152341 w 593978"/>
              <a:gd name="connsiteY0" fmla="*/ 0 h 2842410"/>
              <a:gd name="connsiteX1" fmla="*/ 593774 w 593978"/>
              <a:gd name="connsiteY1" fmla="*/ 1095389 h 2842410"/>
              <a:gd name="connsiteX2" fmla="*/ 203654 w 593978"/>
              <a:gd name="connsiteY2" fmla="*/ 2842410 h 2842410"/>
              <a:gd name="connsiteX3" fmla="*/ 0 w 593978"/>
              <a:gd name="connsiteY3" fmla="*/ 2787423 h 2842410"/>
              <a:gd name="connsiteX4" fmla="*/ 399749 w 593978"/>
              <a:gd name="connsiteY4" fmla="*/ 947942 h 2842410"/>
              <a:gd name="connsiteX5" fmla="*/ 92215 w 593978"/>
              <a:gd name="connsiteY5" fmla="*/ 219272 h 2842410"/>
              <a:gd name="connsiteX6" fmla="*/ 152341 w 593978"/>
              <a:gd name="connsiteY6" fmla="*/ 0 h 2842410"/>
              <a:gd name="connsiteX0" fmla="*/ 152341 w 593774"/>
              <a:gd name="connsiteY0" fmla="*/ 0 h 2842410"/>
              <a:gd name="connsiteX1" fmla="*/ 593774 w 593774"/>
              <a:gd name="connsiteY1" fmla="*/ 1095389 h 2842410"/>
              <a:gd name="connsiteX2" fmla="*/ 203654 w 593774"/>
              <a:gd name="connsiteY2" fmla="*/ 2842410 h 2842410"/>
              <a:gd name="connsiteX3" fmla="*/ 0 w 593774"/>
              <a:gd name="connsiteY3" fmla="*/ 2787423 h 2842410"/>
              <a:gd name="connsiteX4" fmla="*/ 399749 w 593774"/>
              <a:gd name="connsiteY4" fmla="*/ 947942 h 2842410"/>
              <a:gd name="connsiteX5" fmla="*/ 92215 w 593774"/>
              <a:gd name="connsiteY5" fmla="*/ 219272 h 2842410"/>
              <a:gd name="connsiteX6" fmla="*/ 152341 w 593774"/>
              <a:gd name="connsiteY6" fmla="*/ 0 h 2842410"/>
              <a:gd name="connsiteX0" fmla="*/ 152341 w 593774"/>
              <a:gd name="connsiteY0" fmla="*/ 0 h 2842410"/>
              <a:gd name="connsiteX1" fmla="*/ 593774 w 593774"/>
              <a:gd name="connsiteY1" fmla="*/ 1095389 h 2842410"/>
              <a:gd name="connsiteX2" fmla="*/ 203654 w 593774"/>
              <a:gd name="connsiteY2" fmla="*/ 2842410 h 2842410"/>
              <a:gd name="connsiteX3" fmla="*/ 0 w 593774"/>
              <a:gd name="connsiteY3" fmla="*/ 2787423 h 2842410"/>
              <a:gd name="connsiteX4" fmla="*/ 399749 w 593774"/>
              <a:gd name="connsiteY4" fmla="*/ 947942 h 2842410"/>
              <a:gd name="connsiteX5" fmla="*/ 92215 w 593774"/>
              <a:gd name="connsiteY5" fmla="*/ 219272 h 2842410"/>
              <a:gd name="connsiteX6" fmla="*/ 152341 w 593774"/>
              <a:gd name="connsiteY6" fmla="*/ 0 h 2842410"/>
              <a:gd name="connsiteX0" fmla="*/ 152341 w 593774"/>
              <a:gd name="connsiteY0" fmla="*/ 0 h 2842410"/>
              <a:gd name="connsiteX1" fmla="*/ 593774 w 593774"/>
              <a:gd name="connsiteY1" fmla="*/ 1095389 h 2842410"/>
              <a:gd name="connsiteX2" fmla="*/ 203654 w 593774"/>
              <a:gd name="connsiteY2" fmla="*/ 2842410 h 2842410"/>
              <a:gd name="connsiteX3" fmla="*/ 0 w 593774"/>
              <a:gd name="connsiteY3" fmla="*/ 2787423 h 2842410"/>
              <a:gd name="connsiteX4" fmla="*/ 399749 w 593774"/>
              <a:gd name="connsiteY4" fmla="*/ 947942 h 2842410"/>
              <a:gd name="connsiteX5" fmla="*/ 92215 w 593774"/>
              <a:gd name="connsiteY5" fmla="*/ 219272 h 2842410"/>
              <a:gd name="connsiteX6" fmla="*/ 152341 w 593774"/>
              <a:gd name="connsiteY6" fmla="*/ 0 h 284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774" h="2842410">
                <a:moveTo>
                  <a:pt x="152341" y="0"/>
                </a:moveTo>
                <a:cubicBezTo>
                  <a:pt x="300514" y="272446"/>
                  <a:pt x="593509" y="623938"/>
                  <a:pt x="593774" y="1095389"/>
                </a:cubicBezTo>
                <a:cubicBezTo>
                  <a:pt x="594040" y="1569201"/>
                  <a:pt x="340652" y="2348619"/>
                  <a:pt x="203654" y="2842410"/>
                </a:cubicBezTo>
                <a:lnTo>
                  <a:pt x="0" y="2787423"/>
                </a:lnTo>
                <a:cubicBezTo>
                  <a:pt x="121777" y="2374285"/>
                  <a:pt x="417325" y="1333640"/>
                  <a:pt x="399749" y="947942"/>
                </a:cubicBezTo>
                <a:cubicBezTo>
                  <a:pt x="352519" y="700426"/>
                  <a:pt x="182811" y="393565"/>
                  <a:pt x="92215" y="219272"/>
                </a:cubicBezTo>
                <a:cubicBezTo>
                  <a:pt x="131549" y="73204"/>
                  <a:pt x="127445" y="109776"/>
                  <a:pt x="152341" y="0"/>
                </a:cubicBez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cxnSp>
        <p:nvCxnSpPr>
          <p:cNvPr id="122" name="Straight Connector 121">
            <a:extLst>
              <a:ext uri="{FF2B5EF4-FFF2-40B4-BE49-F238E27FC236}">
                <a16:creationId xmlns:a16="http://schemas.microsoft.com/office/drawing/2014/main" id="{825313BC-68BB-406A-8576-72E6930705BF}"/>
              </a:ext>
            </a:extLst>
          </p:cNvPr>
          <p:cNvCxnSpPr>
            <a:cxnSpLocks/>
          </p:cNvCxnSpPr>
          <p:nvPr/>
        </p:nvCxnSpPr>
        <p:spPr bwMode="auto">
          <a:xfrm flipH="1" flipV="1">
            <a:off x="2577357" y="4575002"/>
            <a:ext cx="3657600" cy="0"/>
          </a:xfrm>
          <a:prstGeom prst="line">
            <a:avLst/>
          </a:prstGeom>
          <a:solidFill>
            <a:srgbClr val="00529B"/>
          </a:solidFill>
          <a:ln w="28575" cap="flat" cmpd="sng" algn="ctr">
            <a:solidFill>
              <a:srgbClr val="FFFFFF"/>
            </a:solidFill>
            <a:prstDash val="dash"/>
            <a:round/>
            <a:headEnd type="none" w="med" len="med"/>
            <a:tailEnd type="none" w="lg" len="lg"/>
          </a:ln>
          <a:effectLst/>
        </p:spPr>
      </p:cxnSp>
      <p:sp>
        <p:nvSpPr>
          <p:cNvPr id="63" name="TextBox 62">
            <a:extLst>
              <a:ext uri="{FF2B5EF4-FFF2-40B4-BE49-F238E27FC236}">
                <a16:creationId xmlns:a16="http://schemas.microsoft.com/office/drawing/2014/main" id="{D91AC1D2-C195-4169-9628-731067D78522}"/>
              </a:ext>
            </a:extLst>
          </p:cNvPr>
          <p:cNvSpPr txBox="1"/>
          <p:nvPr/>
        </p:nvSpPr>
        <p:spPr>
          <a:xfrm>
            <a:off x="4860181" y="4292220"/>
            <a:ext cx="1085985"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Define CTS Policies and Standards</a:t>
            </a:r>
          </a:p>
        </p:txBody>
      </p:sp>
      <p:sp>
        <p:nvSpPr>
          <p:cNvPr id="23" name="TextBox 22">
            <a:extLst>
              <a:ext uri="{FF2B5EF4-FFF2-40B4-BE49-F238E27FC236}">
                <a16:creationId xmlns:a16="http://schemas.microsoft.com/office/drawing/2014/main" id="{71DB7721-06B3-4DD1-AB53-140A2CFBB3B3}"/>
              </a:ext>
            </a:extLst>
          </p:cNvPr>
          <p:cNvSpPr txBox="1"/>
          <p:nvPr/>
        </p:nvSpPr>
        <p:spPr>
          <a:xfrm>
            <a:off x="2768152" y="4292220"/>
            <a:ext cx="1085985"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Design the Governance Framework</a:t>
            </a:r>
          </a:p>
        </p:txBody>
      </p:sp>
      <p:grpSp>
        <p:nvGrpSpPr>
          <p:cNvPr id="15" name="Group 14">
            <a:extLst>
              <a:ext uri="{FF2B5EF4-FFF2-40B4-BE49-F238E27FC236}">
                <a16:creationId xmlns:a16="http://schemas.microsoft.com/office/drawing/2014/main" id="{0AE43A64-ED96-4718-801E-6009FC3FD95E}"/>
              </a:ext>
            </a:extLst>
          </p:cNvPr>
          <p:cNvGrpSpPr/>
          <p:nvPr/>
        </p:nvGrpSpPr>
        <p:grpSpPr>
          <a:xfrm>
            <a:off x="772822" y="1353858"/>
            <a:ext cx="1484895" cy="424732"/>
            <a:chOff x="847125" y="1330856"/>
            <a:chExt cx="1484895" cy="424732"/>
          </a:xfrm>
        </p:grpSpPr>
        <p:sp>
          <p:nvSpPr>
            <p:cNvPr id="134" name="TextBox 1">
              <a:extLst>
                <a:ext uri="{FF2B5EF4-FFF2-40B4-BE49-F238E27FC236}">
                  <a16:creationId xmlns:a16="http://schemas.microsoft.com/office/drawing/2014/main" id="{953330D6-BC4E-4E90-987B-0DB41C59B4D5}"/>
                </a:ext>
              </a:extLst>
            </p:cNvPr>
            <p:cNvSpPr txBox="1"/>
            <p:nvPr/>
          </p:nvSpPr>
          <p:spPr bwMode="gray">
            <a:xfrm>
              <a:off x="1249633" y="1330856"/>
              <a:ext cx="1082387" cy="424732"/>
            </a:xfrm>
            <a:prstGeom prst="rect">
              <a:avLst/>
            </a:prstGeom>
            <a:noFill/>
            <a:ln w="19050">
              <a:noFill/>
            </a:ln>
          </p:spPr>
          <p:txBody>
            <a:bodyPr wrap="square"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marL="0" marR="0" lvl="0" indent="0" algn="l" defTabSz="914400" rtl="0" eaLnBrk="0" fontAlgn="base" latinLnBrk="0" hangingPunct="0">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856"/>
                  </a:solidFill>
                  <a:effectLst/>
                  <a:uLnTx/>
                  <a:uFillTx/>
                  <a:latin typeface="+mj-lt"/>
                  <a:ea typeface="Arial Unicode MS" pitchFamily="34" charset="-128"/>
                  <a:cs typeface="Arial Unicode MS" pitchFamily="34" charset="-128"/>
                </a:rPr>
                <a:t>Execution</a:t>
              </a:r>
            </a:p>
            <a:p>
              <a:pPr marL="0" marR="0" lvl="0" indent="0" algn="l" defTabSz="914400" rtl="0" eaLnBrk="0" fontAlgn="base" latinLnBrk="0" hangingPunct="0">
                <a:lnSpc>
                  <a:spcPct val="90000"/>
                </a:lnSpc>
                <a:spcBef>
                  <a:spcPts val="0"/>
                </a:spcBef>
                <a:spcAft>
                  <a:spcPts val="0"/>
                </a:spcAft>
                <a:buClrTx/>
                <a:buSzTx/>
                <a:buFontTx/>
                <a:buNone/>
                <a:tabLst/>
                <a:defRPr/>
              </a:pPr>
              <a:r>
                <a:rPr lang="en-US" sz="1200" b="1">
                  <a:solidFill>
                    <a:srgbClr val="002856"/>
                  </a:solidFill>
                  <a:latin typeface="+mj-lt"/>
                </a:rPr>
                <a:t>Oversight</a:t>
              </a:r>
              <a:endParaRPr kumimoji="0" lang="en-US" sz="1200" b="1" i="0" u="none" strike="noStrike" kern="1200" cap="none" spc="0" normalizeH="0" baseline="0" noProof="0">
                <a:ln>
                  <a:noFill/>
                </a:ln>
                <a:solidFill>
                  <a:srgbClr val="002856"/>
                </a:solidFill>
                <a:effectLst/>
                <a:uLnTx/>
                <a:uFillTx/>
                <a:latin typeface="+mj-lt"/>
              </a:endParaRPr>
            </a:p>
          </p:txBody>
        </p:sp>
        <p:grpSp>
          <p:nvGrpSpPr>
            <p:cNvPr id="135" name="Group 134">
              <a:extLst>
                <a:ext uri="{FF2B5EF4-FFF2-40B4-BE49-F238E27FC236}">
                  <a16:creationId xmlns:a16="http://schemas.microsoft.com/office/drawing/2014/main" id="{4F0BF566-BFEE-403B-A138-471A5F3659E6}"/>
                </a:ext>
              </a:extLst>
            </p:cNvPr>
            <p:cNvGrpSpPr/>
            <p:nvPr/>
          </p:nvGrpSpPr>
          <p:grpSpPr>
            <a:xfrm>
              <a:off x="847125" y="1337482"/>
              <a:ext cx="411480" cy="411480"/>
              <a:chOff x="3529982" y="6211029"/>
              <a:chExt cx="457200" cy="457200"/>
            </a:xfrm>
          </p:grpSpPr>
          <p:sp>
            <p:nvSpPr>
              <p:cNvPr id="136" name="Oval 135">
                <a:extLst>
                  <a:ext uri="{FF2B5EF4-FFF2-40B4-BE49-F238E27FC236}">
                    <a16:creationId xmlns:a16="http://schemas.microsoft.com/office/drawing/2014/main" id="{E054647A-8EE2-4DEA-9BB0-767E1501B9F7}"/>
                  </a:ext>
                </a:extLst>
              </p:cNvPr>
              <p:cNvSpPr/>
              <p:nvPr/>
            </p:nvSpPr>
            <p:spPr bwMode="auto">
              <a:xfrm>
                <a:off x="3529982" y="6211029"/>
                <a:ext cx="457200" cy="457200"/>
              </a:xfrm>
              <a:prstGeom prst="ellipse">
                <a:avLst/>
              </a:prstGeom>
              <a:solidFill>
                <a:srgbClr val="002856"/>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sp>
            <p:nvSpPr>
              <p:cNvPr id="137" name="Freeform: Shape 136">
                <a:extLst>
                  <a:ext uri="{FF2B5EF4-FFF2-40B4-BE49-F238E27FC236}">
                    <a16:creationId xmlns:a16="http://schemas.microsoft.com/office/drawing/2014/main" id="{01133249-4EBB-4C06-8BE0-79278E44BD0F}"/>
                  </a:ext>
                </a:extLst>
              </p:cNvPr>
              <p:cNvSpPr>
                <a:spLocks noChangeAspect="1"/>
              </p:cNvSpPr>
              <p:nvPr/>
            </p:nvSpPr>
            <p:spPr bwMode="gray">
              <a:xfrm>
                <a:off x="3598562" y="6279609"/>
                <a:ext cx="320040" cy="320040"/>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FFFFFF"/>
              </a:solidFill>
              <a:ln w="9525" cap="flat">
                <a:noFill/>
                <a:prstDash val="solid"/>
                <a:miter/>
              </a:ln>
            </p:spPr>
            <p:txBody>
              <a:bodyPr rtlCol="0" anchor="ctr"/>
              <a:lstStyle/>
              <a:p>
                <a:endParaRPr lang="en-US"/>
              </a:p>
            </p:txBody>
          </p:sp>
        </p:grpSp>
      </p:grpSp>
      <p:grpSp>
        <p:nvGrpSpPr>
          <p:cNvPr id="18" name="Group 17">
            <a:extLst>
              <a:ext uri="{FF2B5EF4-FFF2-40B4-BE49-F238E27FC236}">
                <a16:creationId xmlns:a16="http://schemas.microsoft.com/office/drawing/2014/main" id="{DFD05CB0-5DD3-40C3-8F5B-CA8B45E68CC3}"/>
              </a:ext>
            </a:extLst>
          </p:cNvPr>
          <p:cNvGrpSpPr/>
          <p:nvPr/>
        </p:nvGrpSpPr>
        <p:grpSpPr>
          <a:xfrm>
            <a:off x="772822" y="2251246"/>
            <a:ext cx="1785274" cy="435772"/>
            <a:chOff x="847125" y="2705198"/>
            <a:chExt cx="1785274" cy="435772"/>
          </a:xfrm>
        </p:grpSpPr>
        <p:grpSp>
          <p:nvGrpSpPr>
            <p:cNvPr id="138" name="Group 137">
              <a:extLst>
                <a:ext uri="{FF2B5EF4-FFF2-40B4-BE49-F238E27FC236}">
                  <a16:creationId xmlns:a16="http://schemas.microsoft.com/office/drawing/2014/main" id="{5E3F6274-1A01-404B-A83A-828CE56D21C3}"/>
                </a:ext>
              </a:extLst>
            </p:cNvPr>
            <p:cNvGrpSpPr/>
            <p:nvPr/>
          </p:nvGrpSpPr>
          <p:grpSpPr>
            <a:xfrm>
              <a:off x="847125" y="2705198"/>
              <a:ext cx="411480" cy="411480"/>
              <a:chOff x="5539359" y="6014746"/>
              <a:chExt cx="457200" cy="457200"/>
            </a:xfrm>
          </p:grpSpPr>
          <p:sp>
            <p:nvSpPr>
              <p:cNvPr id="139" name="Oval 138">
                <a:extLst>
                  <a:ext uri="{FF2B5EF4-FFF2-40B4-BE49-F238E27FC236}">
                    <a16:creationId xmlns:a16="http://schemas.microsoft.com/office/drawing/2014/main" id="{A09AC192-59D0-4441-9766-A13C49E518A1}"/>
                  </a:ext>
                </a:extLst>
              </p:cNvPr>
              <p:cNvSpPr/>
              <p:nvPr/>
            </p:nvSpPr>
            <p:spPr bwMode="auto">
              <a:xfrm>
                <a:off x="5539359" y="6014746"/>
                <a:ext cx="457200" cy="457200"/>
              </a:xfrm>
              <a:prstGeom prst="ellipse">
                <a:avLst/>
              </a:prstGeom>
              <a:solidFill>
                <a:srgbClr val="009AD7"/>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pic>
            <p:nvPicPr>
              <p:cNvPr id="140" name="Graphic 139">
                <a:extLst>
                  <a:ext uri="{FF2B5EF4-FFF2-40B4-BE49-F238E27FC236}">
                    <a16:creationId xmlns:a16="http://schemas.microsoft.com/office/drawing/2014/main" id="{520B3D84-B60D-44C9-A79D-D97D6140EA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5665089" y="6106186"/>
                <a:ext cx="205740" cy="274320"/>
              </a:xfrm>
              <a:prstGeom prst="rect">
                <a:avLst/>
              </a:prstGeom>
            </p:spPr>
          </p:pic>
        </p:grpSp>
        <p:sp>
          <p:nvSpPr>
            <p:cNvPr id="141" name="TextBox 34">
              <a:extLst>
                <a:ext uri="{FF2B5EF4-FFF2-40B4-BE49-F238E27FC236}">
                  <a16:creationId xmlns:a16="http://schemas.microsoft.com/office/drawing/2014/main" id="{31C0F6E4-C149-4127-98DB-069D5587C1EF}"/>
                </a:ext>
              </a:extLst>
            </p:cNvPr>
            <p:cNvSpPr txBox="1"/>
            <p:nvPr/>
          </p:nvSpPr>
          <p:spPr bwMode="gray">
            <a:xfrm>
              <a:off x="1249633" y="2716238"/>
              <a:ext cx="1382766" cy="424732"/>
            </a:xfrm>
            <a:prstGeom prst="rect">
              <a:avLst/>
            </a:prstGeom>
            <a:noFill/>
            <a:ln w="19050">
              <a:noFill/>
            </a:ln>
          </p:spPr>
          <p:txBody>
            <a:bodyPr wrap="square"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lvl="0" algn="l">
                <a:spcBef>
                  <a:spcPts val="0"/>
                </a:spcBef>
                <a:spcAft>
                  <a:spcPts val="0"/>
                </a:spcAft>
                <a:defRPr/>
              </a:pPr>
              <a:r>
                <a:rPr lang="en-US" sz="1200" b="1">
                  <a:solidFill>
                    <a:srgbClr val="002856"/>
                  </a:solidFill>
                  <a:latin typeface="+mj-lt"/>
                </a:rPr>
                <a:t>Common Data Definitions</a:t>
              </a:r>
            </a:p>
          </p:txBody>
        </p:sp>
      </p:grpSp>
      <p:grpSp>
        <p:nvGrpSpPr>
          <p:cNvPr id="19" name="Group 18">
            <a:extLst>
              <a:ext uri="{FF2B5EF4-FFF2-40B4-BE49-F238E27FC236}">
                <a16:creationId xmlns:a16="http://schemas.microsoft.com/office/drawing/2014/main" id="{B1589BE0-02FF-4A75-B5AD-7D97BA4D8CFF}"/>
              </a:ext>
            </a:extLst>
          </p:cNvPr>
          <p:cNvGrpSpPr/>
          <p:nvPr/>
        </p:nvGrpSpPr>
        <p:grpSpPr>
          <a:xfrm>
            <a:off x="772822" y="4406730"/>
            <a:ext cx="1630353" cy="424732"/>
            <a:chOff x="847125" y="4086097"/>
            <a:chExt cx="1630353" cy="424732"/>
          </a:xfrm>
        </p:grpSpPr>
        <p:grpSp>
          <p:nvGrpSpPr>
            <p:cNvPr id="142" name="Group 141">
              <a:extLst>
                <a:ext uri="{FF2B5EF4-FFF2-40B4-BE49-F238E27FC236}">
                  <a16:creationId xmlns:a16="http://schemas.microsoft.com/office/drawing/2014/main" id="{7C11CEE6-98B2-4CC6-A0A4-5F927117177F}"/>
                </a:ext>
              </a:extLst>
            </p:cNvPr>
            <p:cNvGrpSpPr/>
            <p:nvPr/>
          </p:nvGrpSpPr>
          <p:grpSpPr>
            <a:xfrm>
              <a:off x="847125" y="4092723"/>
              <a:ext cx="411480" cy="411480"/>
              <a:chOff x="8444843" y="6086303"/>
              <a:chExt cx="457200" cy="457200"/>
            </a:xfrm>
          </p:grpSpPr>
          <p:sp>
            <p:nvSpPr>
              <p:cNvPr id="143" name="Oval 142">
                <a:extLst>
                  <a:ext uri="{FF2B5EF4-FFF2-40B4-BE49-F238E27FC236}">
                    <a16:creationId xmlns:a16="http://schemas.microsoft.com/office/drawing/2014/main" id="{34F3C437-A436-4876-A318-577C04B92AB5}"/>
                  </a:ext>
                </a:extLst>
              </p:cNvPr>
              <p:cNvSpPr/>
              <p:nvPr/>
            </p:nvSpPr>
            <p:spPr bwMode="auto">
              <a:xfrm>
                <a:off x="8444843" y="6086303"/>
                <a:ext cx="457200" cy="457200"/>
              </a:xfrm>
              <a:prstGeom prst="ellipse">
                <a:avLst/>
              </a:prstGeom>
              <a:solidFill>
                <a:srgbClr val="49C5F4"/>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44" name="Freeform: Shape 143">
                <a:extLst>
                  <a:ext uri="{FF2B5EF4-FFF2-40B4-BE49-F238E27FC236}">
                    <a16:creationId xmlns:a16="http://schemas.microsoft.com/office/drawing/2014/main" id="{5D1F2A54-217D-4726-B145-01AEE52413FA}"/>
                  </a:ext>
                </a:extLst>
              </p:cNvPr>
              <p:cNvSpPr>
                <a:spLocks noChangeAspect="1"/>
              </p:cNvSpPr>
              <p:nvPr/>
            </p:nvSpPr>
            <p:spPr bwMode="gray">
              <a:xfrm>
                <a:off x="8507385" y="6154883"/>
                <a:ext cx="332117" cy="320040"/>
              </a:xfrm>
              <a:custGeom>
                <a:avLst/>
                <a:gdLst>
                  <a:gd name="connsiteX0" fmla="*/ 517450 w 523875"/>
                  <a:gd name="connsiteY0" fmla="*/ 191167 h 504825"/>
                  <a:gd name="connsiteX1" fmla="*/ 479541 w 523875"/>
                  <a:gd name="connsiteY1" fmla="*/ 146780 h 504825"/>
                  <a:gd name="connsiteX2" fmla="*/ 421439 w 523875"/>
                  <a:gd name="connsiteY2" fmla="*/ 142208 h 504825"/>
                  <a:gd name="connsiteX3" fmla="*/ 377052 w 523875"/>
                  <a:gd name="connsiteY3" fmla="*/ 180118 h 504825"/>
                  <a:gd name="connsiteX4" fmla="*/ 368956 w 523875"/>
                  <a:gd name="connsiteY4" fmla="*/ 219361 h 504825"/>
                  <a:gd name="connsiteX5" fmla="*/ 329141 w 523875"/>
                  <a:gd name="connsiteY5" fmla="*/ 232315 h 504825"/>
                  <a:gd name="connsiteX6" fmla="*/ 283231 w 523875"/>
                  <a:gd name="connsiteY6" fmla="*/ 198311 h 504825"/>
                  <a:gd name="connsiteX7" fmla="*/ 283231 w 523875"/>
                  <a:gd name="connsiteY7" fmla="*/ 157067 h 504825"/>
                  <a:gd name="connsiteX8" fmla="*/ 340381 w 523875"/>
                  <a:gd name="connsiteY8" fmla="*/ 83344 h 504825"/>
                  <a:gd name="connsiteX9" fmla="*/ 264181 w 523875"/>
                  <a:gd name="connsiteY9" fmla="*/ 7144 h 504825"/>
                  <a:gd name="connsiteX10" fmla="*/ 187981 w 523875"/>
                  <a:gd name="connsiteY10" fmla="*/ 83344 h 504825"/>
                  <a:gd name="connsiteX11" fmla="*/ 245131 w 523875"/>
                  <a:gd name="connsiteY11" fmla="*/ 157067 h 504825"/>
                  <a:gd name="connsiteX12" fmla="*/ 245131 w 523875"/>
                  <a:gd name="connsiteY12" fmla="*/ 198215 h 504825"/>
                  <a:gd name="connsiteX13" fmla="*/ 199220 w 523875"/>
                  <a:gd name="connsiteY13" fmla="*/ 232220 h 504825"/>
                  <a:gd name="connsiteX14" fmla="*/ 159406 w 523875"/>
                  <a:gd name="connsiteY14" fmla="*/ 219266 h 504825"/>
                  <a:gd name="connsiteX15" fmla="*/ 151310 w 523875"/>
                  <a:gd name="connsiteY15" fmla="*/ 180023 h 504825"/>
                  <a:gd name="connsiteX16" fmla="*/ 106923 w 523875"/>
                  <a:gd name="connsiteY16" fmla="*/ 142113 h 504825"/>
                  <a:gd name="connsiteX17" fmla="*/ 48821 w 523875"/>
                  <a:gd name="connsiteY17" fmla="*/ 146685 h 504825"/>
                  <a:gd name="connsiteX18" fmla="*/ 10911 w 523875"/>
                  <a:gd name="connsiteY18" fmla="*/ 191072 h 504825"/>
                  <a:gd name="connsiteX19" fmla="*/ 15483 w 523875"/>
                  <a:gd name="connsiteY19" fmla="*/ 249174 h 504825"/>
                  <a:gd name="connsiteX20" fmla="*/ 59870 w 523875"/>
                  <a:gd name="connsiteY20" fmla="*/ 287084 h 504825"/>
                  <a:gd name="connsiteX21" fmla="*/ 83492 w 523875"/>
                  <a:gd name="connsiteY21" fmla="*/ 290894 h 504825"/>
                  <a:gd name="connsiteX22" fmla="*/ 117972 w 523875"/>
                  <a:gd name="connsiteY22" fmla="*/ 282512 h 504825"/>
                  <a:gd name="connsiteX23" fmla="*/ 147595 w 523875"/>
                  <a:gd name="connsiteY23" fmla="*/ 255556 h 504825"/>
                  <a:gd name="connsiteX24" fmla="*/ 188076 w 523875"/>
                  <a:gd name="connsiteY24" fmla="*/ 268700 h 504825"/>
                  <a:gd name="connsiteX25" fmla="*/ 187886 w 523875"/>
                  <a:gd name="connsiteY25" fmla="*/ 271939 h 504825"/>
                  <a:gd name="connsiteX26" fmla="*/ 205888 w 523875"/>
                  <a:gd name="connsiteY26" fmla="*/ 321088 h 504825"/>
                  <a:gd name="connsiteX27" fmla="*/ 180266 w 523875"/>
                  <a:gd name="connsiteY27" fmla="*/ 356330 h 504825"/>
                  <a:gd name="connsiteX28" fmla="*/ 140451 w 523875"/>
                  <a:gd name="connsiteY28" fmla="*/ 351949 h 504825"/>
                  <a:gd name="connsiteX29" fmla="*/ 90731 w 523875"/>
                  <a:gd name="connsiteY29" fmla="*/ 382429 h 504825"/>
                  <a:gd name="connsiteX30" fmla="*/ 77110 w 523875"/>
                  <a:gd name="connsiteY30" fmla="*/ 439103 h 504825"/>
                  <a:gd name="connsiteX31" fmla="*/ 107590 w 523875"/>
                  <a:gd name="connsiteY31" fmla="*/ 488823 h 504825"/>
                  <a:gd name="connsiteX32" fmla="*/ 152262 w 523875"/>
                  <a:gd name="connsiteY32" fmla="*/ 503396 h 504825"/>
                  <a:gd name="connsiteX33" fmla="*/ 164359 w 523875"/>
                  <a:gd name="connsiteY33" fmla="*/ 502444 h 504825"/>
                  <a:gd name="connsiteX34" fmla="*/ 214079 w 523875"/>
                  <a:gd name="connsiteY34" fmla="*/ 471964 h 504825"/>
                  <a:gd name="connsiteX35" fmla="*/ 227700 w 523875"/>
                  <a:gd name="connsiteY35" fmla="*/ 415290 h 504825"/>
                  <a:gd name="connsiteX36" fmla="*/ 211222 w 523875"/>
                  <a:gd name="connsiteY36" fmla="*/ 378809 h 504825"/>
                  <a:gd name="connsiteX37" fmla="*/ 237130 w 523875"/>
                  <a:gd name="connsiteY37" fmla="*/ 343186 h 504825"/>
                  <a:gd name="connsiteX38" fmla="*/ 264181 w 523875"/>
                  <a:gd name="connsiteY38" fmla="*/ 348234 h 504825"/>
                  <a:gd name="connsiteX39" fmla="*/ 291232 w 523875"/>
                  <a:gd name="connsiteY39" fmla="*/ 343186 h 504825"/>
                  <a:gd name="connsiteX40" fmla="*/ 317140 w 523875"/>
                  <a:gd name="connsiteY40" fmla="*/ 378809 h 504825"/>
                  <a:gd name="connsiteX41" fmla="*/ 300662 w 523875"/>
                  <a:gd name="connsiteY41" fmla="*/ 415290 h 504825"/>
                  <a:gd name="connsiteX42" fmla="*/ 314282 w 523875"/>
                  <a:gd name="connsiteY42" fmla="*/ 471964 h 504825"/>
                  <a:gd name="connsiteX43" fmla="*/ 364003 w 523875"/>
                  <a:gd name="connsiteY43" fmla="*/ 502444 h 504825"/>
                  <a:gd name="connsiteX44" fmla="*/ 376100 w 523875"/>
                  <a:gd name="connsiteY44" fmla="*/ 503396 h 504825"/>
                  <a:gd name="connsiteX45" fmla="*/ 420677 w 523875"/>
                  <a:gd name="connsiteY45" fmla="*/ 488823 h 504825"/>
                  <a:gd name="connsiteX46" fmla="*/ 451157 w 523875"/>
                  <a:gd name="connsiteY46" fmla="*/ 439103 h 504825"/>
                  <a:gd name="connsiteX47" fmla="*/ 437536 w 523875"/>
                  <a:gd name="connsiteY47" fmla="*/ 382429 h 504825"/>
                  <a:gd name="connsiteX48" fmla="*/ 387815 w 523875"/>
                  <a:gd name="connsiteY48" fmla="*/ 351949 h 504825"/>
                  <a:gd name="connsiteX49" fmla="*/ 348001 w 523875"/>
                  <a:gd name="connsiteY49" fmla="*/ 356330 h 504825"/>
                  <a:gd name="connsiteX50" fmla="*/ 322379 w 523875"/>
                  <a:gd name="connsiteY50" fmla="*/ 321088 h 504825"/>
                  <a:gd name="connsiteX51" fmla="*/ 340381 w 523875"/>
                  <a:gd name="connsiteY51" fmla="*/ 271939 h 504825"/>
                  <a:gd name="connsiteX52" fmla="*/ 340190 w 523875"/>
                  <a:gd name="connsiteY52" fmla="*/ 268700 h 504825"/>
                  <a:gd name="connsiteX53" fmla="*/ 380672 w 523875"/>
                  <a:gd name="connsiteY53" fmla="*/ 255556 h 504825"/>
                  <a:gd name="connsiteX54" fmla="*/ 410294 w 523875"/>
                  <a:gd name="connsiteY54" fmla="*/ 282512 h 504825"/>
                  <a:gd name="connsiteX55" fmla="*/ 444775 w 523875"/>
                  <a:gd name="connsiteY55" fmla="*/ 290894 h 504825"/>
                  <a:gd name="connsiteX56" fmla="*/ 468397 w 523875"/>
                  <a:gd name="connsiteY56" fmla="*/ 287084 h 504825"/>
                  <a:gd name="connsiteX57" fmla="*/ 512783 w 523875"/>
                  <a:gd name="connsiteY57" fmla="*/ 249174 h 504825"/>
                  <a:gd name="connsiteX58" fmla="*/ 517450 w 523875"/>
                  <a:gd name="connsiteY58" fmla="*/ 191167 h 504825"/>
                  <a:gd name="connsiteX59" fmla="*/ 119782 w 523875"/>
                  <a:gd name="connsiteY59" fmla="*/ 226409 h 504825"/>
                  <a:gd name="connsiteX60" fmla="*/ 100827 w 523875"/>
                  <a:gd name="connsiteY60" fmla="*/ 248603 h 504825"/>
                  <a:gd name="connsiteX61" fmla="*/ 71776 w 523875"/>
                  <a:gd name="connsiteY61" fmla="*/ 250889 h 504825"/>
                  <a:gd name="connsiteX62" fmla="*/ 49583 w 523875"/>
                  <a:gd name="connsiteY62" fmla="*/ 231934 h 504825"/>
                  <a:gd name="connsiteX63" fmla="*/ 47297 w 523875"/>
                  <a:gd name="connsiteY63" fmla="*/ 202883 h 504825"/>
                  <a:gd name="connsiteX64" fmla="*/ 66251 w 523875"/>
                  <a:gd name="connsiteY64" fmla="*/ 180689 h 504825"/>
                  <a:gd name="connsiteX65" fmla="*/ 83492 w 523875"/>
                  <a:gd name="connsiteY65" fmla="*/ 176498 h 504825"/>
                  <a:gd name="connsiteX66" fmla="*/ 95303 w 523875"/>
                  <a:gd name="connsiteY66" fmla="*/ 178403 h 504825"/>
                  <a:gd name="connsiteX67" fmla="*/ 95303 w 523875"/>
                  <a:gd name="connsiteY67" fmla="*/ 178403 h 504825"/>
                  <a:gd name="connsiteX68" fmla="*/ 117496 w 523875"/>
                  <a:gd name="connsiteY68" fmla="*/ 197358 h 504825"/>
                  <a:gd name="connsiteX69" fmla="*/ 119782 w 523875"/>
                  <a:gd name="connsiteY69" fmla="*/ 226409 h 504825"/>
                  <a:gd name="connsiteX70" fmla="*/ 226176 w 523875"/>
                  <a:gd name="connsiteY70" fmla="*/ 83344 h 504825"/>
                  <a:gd name="connsiteX71" fmla="*/ 264276 w 523875"/>
                  <a:gd name="connsiteY71" fmla="*/ 45244 h 504825"/>
                  <a:gd name="connsiteX72" fmla="*/ 302376 w 523875"/>
                  <a:gd name="connsiteY72" fmla="*/ 83344 h 504825"/>
                  <a:gd name="connsiteX73" fmla="*/ 264276 w 523875"/>
                  <a:gd name="connsiteY73" fmla="*/ 121444 h 504825"/>
                  <a:gd name="connsiteX74" fmla="*/ 226176 w 523875"/>
                  <a:gd name="connsiteY74" fmla="*/ 83344 h 504825"/>
                  <a:gd name="connsiteX75" fmla="*/ 183409 w 523875"/>
                  <a:gd name="connsiteY75" fmla="*/ 449485 h 504825"/>
                  <a:gd name="connsiteX76" fmla="*/ 158549 w 523875"/>
                  <a:gd name="connsiteY76" fmla="*/ 464725 h 504825"/>
                  <a:gd name="connsiteX77" fmla="*/ 130164 w 523875"/>
                  <a:gd name="connsiteY77" fmla="*/ 457962 h 504825"/>
                  <a:gd name="connsiteX78" fmla="*/ 114924 w 523875"/>
                  <a:gd name="connsiteY78" fmla="*/ 433102 h 504825"/>
                  <a:gd name="connsiteX79" fmla="*/ 121687 w 523875"/>
                  <a:gd name="connsiteY79" fmla="*/ 404717 h 504825"/>
                  <a:gd name="connsiteX80" fmla="*/ 146547 w 523875"/>
                  <a:gd name="connsiteY80" fmla="*/ 389477 h 504825"/>
                  <a:gd name="connsiteX81" fmla="*/ 152548 w 523875"/>
                  <a:gd name="connsiteY81" fmla="*/ 389001 h 504825"/>
                  <a:gd name="connsiteX82" fmla="*/ 174836 w 523875"/>
                  <a:gd name="connsiteY82" fmla="*/ 396335 h 504825"/>
                  <a:gd name="connsiteX83" fmla="*/ 190076 w 523875"/>
                  <a:gd name="connsiteY83" fmla="*/ 421196 h 504825"/>
                  <a:gd name="connsiteX84" fmla="*/ 183409 w 523875"/>
                  <a:gd name="connsiteY84" fmla="*/ 449485 h 504825"/>
                  <a:gd name="connsiteX85" fmla="*/ 226176 w 523875"/>
                  <a:gd name="connsiteY85" fmla="*/ 271939 h 504825"/>
                  <a:gd name="connsiteX86" fmla="*/ 264276 w 523875"/>
                  <a:gd name="connsiteY86" fmla="*/ 233839 h 504825"/>
                  <a:gd name="connsiteX87" fmla="*/ 302376 w 523875"/>
                  <a:gd name="connsiteY87" fmla="*/ 271939 h 504825"/>
                  <a:gd name="connsiteX88" fmla="*/ 264276 w 523875"/>
                  <a:gd name="connsiteY88" fmla="*/ 310039 h 504825"/>
                  <a:gd name="connsiteX89" fmla="*/ 226176 w 523875"/>
                  <a:gd name="connsiteY89" fmla="*/ 271939 h 504825"/>
                  <a:gd name="connsiteX90" fmla="*/ 375814 w 523875"/>
                  <a:gd name="connsiteY90" fmla="*/ 389001 h 504825"/>
                  <a:gd name="connsiteX91" fmla="*/ 381815 w 523875"/>
                  <a:gd name="connsiteY91" fmla="*/ 389477 h 504825"/>
                  <a:gd name="connsiteX92" fmla="*/ 406675 w 523875"/>
                  <a:gd name="connsiteY92" fmla="*/ 404717 h 504825"/>
                  <a:gd name="connsiteX93" fmla="*/ 413438 w 523875"/>
                  <a:gd name="connsiteY93" fmla="*/ 433102 h 504825"/>
                  <a:gd name="connsiteX94" fmla="*/ 398198 w 523875"/>
                  <a:gd name="connsiteY94" fmla="*/ 457962 h 504825"/>
                  <a:gd name="connsiteX95" fmla="*/ 369813 w 523875"/>
                  <a:gd name="connsiteY95" fmla="*/ 464725 h 504825"/>
                  <a:gd name="connsiteX96" fmla="*/ 344953 w 523875"/>
                  <a:gd name="connsiteY96" fmla="*/ 449485 h 504825"/>
                  <a:gd name="connsiteX97" fmla="*/ 338190 w 523875"/>
                  <a:gd name="connsiteY97" fmla="*/ 421100 h 504825"/>
                  <a:gd name="connsiteX98" fmla="*/ 353430 w 523875"/>
                  <a:gd name="connsiteY98" fmla="*/ 396240 h 504825"/>
                  <a:gd name="connsiteX99" fmla="*/ 375814 w 523875"/>
                  <a:gd name="connsiteY99" fmla="*/ 389001 h 504825"/>
                  <a:gd name="connsiteX100" fmla="*/ 478874 w 523875"/>
                  <a:gd name="connsiteY100" fmla="*/ 231934 h 504825"/>
                  <a:gd name="connsiteX101" fmla="*/ 456681 w 523875"/>
                  <a:gd name="connsiteY101" fmla="*/ 250889 h 504825"/>
                  <a:gd name="connsiteX102" fmla="*/ 456681 w 523875"/>
                  <a:gd name="connsiteY102" fmla="*/ 250889 h 504825"/>
                  <a:gd name="connsiteX103" fmla="*/ 427630 w 523875"/>
                  <a:gd name="connsiteY103" fmla="*/ 248603 h 504825"/>
                  <a:gd name="connsiteX104" fmla="*/ 408675 w 523875"/>
                  <a:gd name="connsiteY104" fmla="*/ 226409 h 504825"/>
                  <a:gd name="connsiteX105" fmla="*/ 410961 w 523875"/>
                  <a:gd name="connsiteY105" fmla="*/ 197358 h 504825"/>
                  <a:gd name="connsiteX106" fmla="*/ 433154 w 523875"/>
                  <a:gd name="connsiteY106" fmla="*/ 178403 h 504825"/>
                  <a:gd name="connsiteX107" fmla="*/ 444965 w 523875"/>
                  <a:gd name="connsiteY107" fmla="*/ 176498 h 504825"/>
                  <a:gd name="connsiteX108" fmla="*/ 462206 w 523875"/>
                  <a:gd name="connsiteY108" fmla="*/ 180689 h 504825"/>
                  <a:gd name="connsiteX109" fmla="*/ 481160 w 523875"/>
                  <a:gd name="connsiteY109" fmla="*/ 202883 h 504825"/>
                  <a:gd name="connsiteX110" fmla="*/ 478874 w 523875"/>
                  <a:gd name="connsiteY110" fmla="*/ 23193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523875" h="504825">
                    <a:moveTo>
                      <a:pt x="517450" y="191167"/>
                    </a:moveTo>
                    <a:cubicBezTo>
                      <a:pt x="511164" y="171831"/>
                      <a:pt x="497734" y="156020"/>
                      <a:pt x="479541" y="146780"/>
                    </a:cubicBezTo>
                    <a:cubicBezTo>
                      <a:pt x="461444" y="137541"/>
                      <a:pt x="440774" y="135922"/>
                      <a:pt x="421439" y="142208"/>
                    </a:cubicBezTo>
                    <a:cubicBezTo>
                      <a:pt x="402103" y="148495"/>
                      <a:pt x="386291" y="161925"/>
                      <a:pt x="377052" y="180118"/>
                    </a:cubicBezTo>
                    <a:cubicBezTo>
                      <a:pt x="370766" y="192405"/>
                      <a:pt x="368099" y="205931"/>
                      <a:pt x="368956" y="219361"/>
                    </a:cubicBezTo>
                    <a:lnTo>
                      <a:pt x="329141" y="232315"/>
                    </a:lnTo>
                    <a:cubicBezTo>
                      <a:pt x="318950" y="215646"/>
                      <a:pt x="302567" y="203264"/>
                      <a:pt x="283231" y="198311"/>
                    </a:cubicBezTo>
                    <a:lnTo>
                      <a:pt x="283231" y="157067"/>
                    </a:lnTo>
                    <a:cubicBezTo>
                      <a:pt x="315997" y="148590"/>
                      <a:pt x="340381" y="118777"/>
                      <a:pt x="340381" y="83344"/>
                    </a:cubicBezTo>
                    <a:cubicBezTo>
                      <a:pt x="340381" y="41339"/>
                      <a:pt x="306186" y="7144"/>
                      <a:pt x="264181" y="7144"/>
                    </a:cubicBezTo>
                    <a:cubicBezTo>
                      <a:pt x="222176" y="7144"/>
                      <a:pt x="187981" y="41339"/>
                      <a:pt x="187981" y="83344"/>
                    </a:cubicBezTo>
                    <a:cubicBezTo>
                      <a:pt x="187981" y="118777"/>
                      <a:pt x="212365" y="148590"/>
                      <a:pt x="245131" y="157067"/>
                    </a:cubicBezTo>
                    <a:lnTo>
                      <a:pt x="245131" y="198215"/>
                    </a:lnTo>
                    <a:cubicBezTo>
                      <a:pt x="225795" y="203264"/>
                      <a:pt x="209412" y="215646"/>
                      <a:pt x="199220" y="232220"/>
                    </a:cubicBezTo>
                    <a:lnTo>
                      <a:pt x="159406" y="219266"/>
                    </a:lnTo>
                    <a:cubicBezTo>
                      <a:pt x="160263" y="205835"/>
                      <a:pt x="157596" y="192310"/>
                      <a:pt x="151310" y="180023"/>
                    </a:cubicBezTo>
                    <a:cubicBezTo>
                      <a:pt x="142070" y="161925"/>
                      <a:pt x="126354" y="148400"/>
                      <a:pt x="106923" y="142113"/>
                    </a:cubicBezTo>
                    <a:cubicBezTo>
                      <a:pt x="87587" y="135827"/>
                      <a:pt x="66918" y="137446"/>
                      <a:pt x="48821" y="146685"/>
                    </a:cubicBezTo>
                    <a:cubicBezTo>
                      <a:pt x="30723" y="155924"/>
                      <a:pt x="17198" y="171641"/>
                      <a:pt x="10911" y="191072"/>
                    </a:cubicBezTo>
                    <a:cubicBezTo>
                      <a:pt x="4625" y="210407"/>
                      <a:pt x="6244" y="231077"/>
                      <a:pt x="15483" y="249174"/>
                    </a:cubicBezTo>
                    <a:cubicBezTo>
                      <a:pt x="24722" y="267272"/>
                      <a:pt x="40439" y="280797"/>
                      <a:pt x="59870" y="287084"/>
                    </a:cubicBezTo>
                    <a:cubicBezTo>
                      <a:pt x="67585" y="289560"/>
                      <a:pt x="75586" y="290894"/>
                      <a:pt x="83492" y="290894"/>
                    </a:cubicBezTo>
                    <a:cubicBezTo>
                      <a:pt x="95398" y="290894"/>
                      <a:pt x="107114" y="288131"/>
                      <a:pt x="117972" y="282512"/>
                    </a:cubicBezTo>
                    <a:cubicBezTo>
                      <a:pt x="130259" y="276225"/>
                      <a:pt x="140356" y="266891"/>
                      <a:pt x="147595" y="255556"/>
                    </a:cubicBezTo>
                    <a:lnTo>
                      <a:pt x="188076" y="268700"/>
                    </a:lnTo>
                    <a:cubicBezTo>
                      <a:pt x="188076" y="269748"/>
                      <a:pt x="187886" y="270796"/>
                      <a:pt x="187886" y="271939"/>
                    </a:cubicBezTo>
                    <a:cubicBezTo>
                      <a:pt x="187886" y="290608"/>
                      <a:pt x="194648" y="307753"/>
                      <a:pt x="205888" y="321088"/>
                    </a:cubicBezTo>
                    <a:lnTo>
                      <a:pt x="180266" y="356330"/>
                    </a:lnTo>
                    <a:cubicBezTo>
                      <a:pt x="167693" y="351377"/>
                      <a:pt x="154072" y="349758"/>
                      <a:pt x="140451" y="351949"/>
                    </a:cubicBezTo>
                    <a:cubicBezTo>
                      <a:pt x="120353" y="355092"/>
                      <a:pt x="102732" y="365951"/>
                      <a:pt x="90731" y="382429"/>
                    </a:cubicBezTo>
                    <a:cubicBezTo>
                      <a:pt x="78729" y="398907"/>
                      <a:pt x="73967" y="419005"/>
                      <a:pt x="77110" y="439103"/>
                    </a:cubicBezTo>
                    <a:cubicBezTo>
                      <a:pt x="80253" y="459200"/>
                      <a:pt x="91112" y="476822"/>
                      <a:pt x="107590" y="488823"/>
                    </a:cubicBezTo>
                    <a:cubicBezTo>
                      <a:pt x="120734" y="498348"/>
                      <a:pt x="136260" y="503396"/>
                      <a:pt x="152262" y="503396"/>
                    </a:cubicBezTo>
                    <a:cubicBezTo>
                      <a:pt x="156263" y="503396"/>
                      <a:pt x="160263" y="503111"/>
                      <a:pt x="164359" y="502444"/>
                    </a:cubicBezTo>
                    <a:cubicBezTo>
                      <a:pt x="184457" y="499301"/>
                      <a:pt x="202078" y="488442"/>
                      <a:pt x="214079" y="471964"/>
                    </a:cubicBezTo>
                    <a:cubicBezTo>
                      <a:pt x="226081" y="455486"/>
                      <a:pt x="230843" y="435388"/>
                      <a:pt x="227700" y="415290"/>
                    </a:cubicBezTo>
                    <a:cubicBezTo>
                      <a:pt x="225509" y="401669"/>
                      <a:pt x="219794" y="389192"/>
                      <a:pt x="211222" y="378809"/>
                    </a:cubicBezTo>
                    <a:lnTo>
                      <a:pt x="237130" y="343186"/>
                    </a:lnTo>
                    <a:cubicBezTo>
                      <a:pt x="245512" y="346424"/>
                      <a:pt x="254656" y="348234"/>
                      <a:pt x="264181" y="348234"/>
                    </a:cubicBezTo>
                    <a:cubicBezTo>
                      <a:pt x="273706" y="348234"/>
                      <a:pt x="282850" y="346424"/>
                      <a:pt x="291232" y="343186"/>
                    </a:cubicBezTo>
                    <a:lnTo>
                      <a:pt x="317140" y="378809"/>
                    </a:lnTo>
                    <a:cubicBezTo>
                      <a:pt x="308567" y="389192"/>
                      <a:pt x="302757" y="401669"/>
                      <a:pt x="300662" y="415290"/>
                    </a:cubicBezTo>
                    <a:cubicBezTo>
                      <a:pt x="297518" y="435388"/>
                      <a:pt x="302281" y="455581"/>
                      <a:pt x="314282" y="471964"/>
                    </a:cubicBezTo>
                    <a:cubicBezTo>
                      <a:pt x="326284" y="488442"/>
                      <a:pt x="343905" y="499205"/>
                      <a:pt x="364003" y="502444"/>
                    </a:cubicBezTo>
                    <a:cubicBezTo>
                      <a:pt x="368003" y="503111"/>
                      <a:pt x="372099" y="503396"/>
                      <a:pt x="376100" y="503396"/>
                    </a:cubicBezTo>
                    <a:cubicBezTo>
                      <a:pt x="392102" y="503396"/>
                      <a:pt x="407532" y="498348"/>
                      <a:pt x="420677" y="488823"/>
                    </a:cubicBezTo>
                    <a:cubicBezTo>
                      <a:pt x="437155" y="476822"/>
                      <a:pt x="448013" y="459200"/>
                      <a:pt x="451157" y="439103"/>
                    </a:cubicBezTo>
                    <a:cubicBezTo>
                      <a:pt x="454300" y="419005"/>
                      <a:pt x="449537" y="398812"/>
                      <a:pt x="437536" y="382429"/>
                    </a:cubicBezTo>
                    <a:cubicBezTo>
                      <a:pt x="425534" y="365951"/>
                      <a:pt x="407913" y="355187"/>
                      <a:pt x="387815" y="351949"/>
                    </a:cubicBezTo>
                    <a:cubicBezTo>
                      <a:pt x="374195" y="349758"/>
                      <a:pt x="360479" y="351377"/>
                      <a:pt x="348001" y="356330"/>
                    </a:cubicBezTo>
                    <a:lnTo>
                      <a:pt x="322379" y="321088"/>
                    </a:lnTo>
                    <a:cubicBezTo>
                      <a:pt x="333618" y="307848"/>
                      <a:pt x="340381" y="290703"/>
                      <a:pt x="340381" y="271939"/>
                    </a:cubicBezTo>
                    <a:cubicBezTo>
                      <a:pt x="340381" y="270891"/>
                      <a:pt x="340286" y="269843"/>
                      <a:pt x="340190" y="268700"/>
                    </a:cubicBezTo>
                    <a:lnTo>
                      <a:pt x="380672" y="255556"/>
                    </a:lnTo>
                    <a:cubicBezTo>
                      <a:pt x="387911" y="266891"/>
                      <a:pt x="398007" y="276225"/>
                      <a:pt x="410294" y="282512"/>
                    </a:cubicBezTo>
                    <a:cubicBezTo>
                      <a:pt x="421153" y="288036"/>
                      <a:pt x="432964" y="290894"/>
                      <a:pt x="444775" y="290894"/>
                    </a:cubicBezTo>
                    <a:cubicBezTo>
                      <a:pt x="452681" y="290894"/>
                      <a:pt x="460682" y="289655"/>
                      <a:pt x="468397" y="287084"/>
                    </a:cubicBezTo>
                    <a:cubicBezTo>
                      <a:pt x="487733" y="280797"/>
                      <a:pt x="503544" y="267367"/>
                      <a:pt x="512783" y="249174"/>
                    </a:cubicBezTo>
                    <a:cubicBezTo>
                      <a:pt x="522118" y="231172"/>
                      <a:pt x="523737" y="210503"/>
                      <a:pt x="517450" y="191167"/>
                    </a:cubicBezTo>
                    <a:close/>
                    <a:moveTo>
                      <a:pt x="119782" y="226409"/>
                    </a:moveTo>
                    <a:cubicBezTo>
                      <a:pt x="116639" y="236125"/>
                      <a:pt x="109876" y="243935"/>
                      <a:pt x="100827" y="248603"/>
                    </a:cubicBezTo>
                    <a:cubicBezTo>
                      <a:pt x="91778" y="253175"/>
                      <a:pt x="81396" y="254032"/>
                      <a:pt x="71776" y="250889"/>
                    </a:cubicBezTo>
                    <a:cubicBezTo>
                      <a:pt x="62060" y="247745"/>
                      <a:pt x="54250" y="240983"/>
                      <a:pt x="49583" y="231934"/>
                    </a:cubicBezTo>
                    <a:cubicBezTo>
                      <a:pt x="45011" y="222885"/>
                      <a:pt x="44153" y="212503"/>
                      <a:pt x="47297" y="202883"/>
                    </a:cubicBezTo>
                    <a:cubicBezTo>
                      <a:pt x="50440" y="193167"/>
                      <a:pt x="57203" y="185357"/>
                      <a:pt x="66251" y="180689"/>
                    </a:cubicBezTo>
                    <a:cubicBezTo>
                      <a:pt x="71681" y="177927"/>
                      <a:pt x="77586" y="176498"/>
                      <a:pt x="83492" y="176498"/>
                    </a:cubicBezTo>
                    <a:cubicBezTo>
                      <a:pt x="87492" y="176498"/>
                      <a:pt x="91397" y="177165"/>
                      <a:pt x="95303" y="178403"/>
                    </a:cubicBezTo>
                    <a:lnTo>
                      <a:pt x="95303" y="178403"/>
                    </a:lnTo>
                    <a:cubicBezTo>
                      <a:pt x="105018" y="181547"/>
                      <a:pt x="112829" y="188309"/>
                      <a:pt x="117496" y="197358"/>
                    </a:cubicBezTo>
                    <a:cubicBezTo>
                      <a:pt x="122068" y="206407"/>
                      <a:pt x="122925" y="216789"/>
                      <a:pt x="119782" y="226409"/>
                    </a:cubicBezTo>
                    <a:close/>
                    <a:moveTo>
                      <a:pt x="226176" y="83344"/>
                    </a:moveTo>
                    <a:cubicBezTo>
                      <a:pt x="226176" y="62294"/>
                      <a:pt x="243226" y="45244"/>
                      <a:pt x="264276" y="45244"/>
                    </a:cubicBezTo>
                    <a:cubicBezTo>
                      <a:pt x="285326" y="45244"/>
                      <a:pt x="302376" y="62294"/>
                      <a:pt x="302376" y="83344"/>
                    </a:cubicBezTo>
                    <a:cubicBezTo>
                      <a:pt x="302376" y="104394"/>
                      <a:pt x="285326" y="121444"/>
                      <a:pt x="264276" y="121444"/>
                    </a:cubicBezTo>
                    <a:cubicBezTo>
                      <a:pt x="243226" y="121444"/>
                      <a:pt x="226176" y="104394"/>
                      <a:pt x="226176" y="83344"/>
                    </a:cubicBezTo>
                    <a:close/>
                    <a:moveTo>
                      <a:pt x="183409" y="449485"/>
                    </a:moveTo>
                    <a:cubicBezTo>
                      <a:pt x="177408" y="457676"/>
                      <a:pt x="168645" y="463106"/>
                      <a:pt x="158549" y="464725"/>
                    </a:cubicBezTo>
                    <a:cubicBezTo>
                      <a:pt x="148547" y="466344"/>
                      <a:pt x="138451" y="463868"/>
                      <a:pt x="130164" y="457962"/>
                    </a:cubicBezTo>
                    <a:cubicBezTo>
                      <a:pt x="121973" y="451961"/>
                      <a:pt x="116543" y="443198"/>
                      <a:pt x="114924" y="433102"/>
                    </a:cubicBezTo>
                    <a:cubicBezTo>
                      <a:pt x="113305" y="423101"/>
                      <a:pt x="115781" y="413004"/>
                      <a:pt x="121687" y="404717"/>
                    </a:cubicBezTo>
                    <a:cubicBezTo>
                      <a:pt x="127688" y="396526"/>
                      <a:pt x="136546" y="391097"/>
                      <a:pt x="146547" y="389477"/>
                    </a:cubicBezTo>
                    <a:cubicBezTo>
                      <a:pt x="148547" y="389192"/>
                      <a:pt x="150548" y="389001"/>
                      <a:pt x="152548" y="389001"/>
                    </a:cubicBezTo>
                    <a:cubicBezTo>
                      <a:pt x="160549" y="389001"/>
                      <a:pt x="168264" y="391478"/>
                      <a:pt x="174836" y="396335"/>
                    </a:cubicBezTo>
                    <a:cubicBezTo>
                      <a:pt x="183028" y="402336"/>
                      <a:pt x="188457" y="411099"/>
                      <a:pt x="190076" y="421196"/>
                    </a:cubicBezTo>
                    <a:cubicBezTo>
                      <a:pt x="191791" y="431197"/>
                      <a:pt x="189314" y="441293"/>
                      <a:pt x="183409" y="449485"/>
                    </a:cubicBezTo>
                    <a:close/>
                    <a:moveTo>
                      <a:pt x="226176" y="271939"/>
                    </a:moveTo>
                    <a:cubicBezTo>
                      <a:pt x="226176" y="250889"/>
                      <a:pt x="243226" y="233839"/>
                      <a:pt x="264276" y="233839"/>
                    </a:cubicBezTo>
                    <a:cubicBezTo>
                      <a:pt x="285326" y="233839"/>
                      <a:pt x="302376" y="250889"/>
                      <a:pt x="302376" y="271939"/>
                    </a:cubicBezTo>
                    <a:cubicBezTo>
                      <a:pt x="302376" y="292989"/>
                      <a:pt x="285326" y="310039"/>
                      <a:pt x="264276" y="310039"/>
                    </a:cubicBezTo>
                    <a:cubicBezTo>
                      <a:pt x="243226" y="310039"/>
                      <a:pt x="226176" y="292894"/>
                      <a:pt x="226176" y="271939"/>
                    </a:cubicBezTo>
                    <a:close/>
                    <a:moveTo>
                      <a:pt x="375814" y="389001"/>
                    </a:moveTo>
                    <a:cubicBezTo>
                      <a:pt x="377814" y="389001"/>
                      <a:pt x="379814" y="389192"/>
                      <a:pt x="381815" y="389477"/>
                    </a:cubicBezTo>
                    <a:cubicBezTo>
                      <a:pt x="391911" y="391097"/>
                      <a:pt x="400674" y="396526"/>
                      <a:pt x="406675" y="404717"/>
                    </a:cubicBezTo>
                    <a:cubicBezTo>
                      <a:pt x="412676" y="412909"/>
                      <a:pt x="415057" y="423005"/>
                      <a:pt x="413438" y="433102"/>
                    </a:cubicBezTo>
                    <a:cubicBezTo>
                      <a:pt x="411818" y="443198"/>
                      <a:pt x="406389" y="451961"/>
                      <a:pt x="398198" y="457962"/>
                    </a:cubicBezTo>
                    <a:cubicBezTo>
                      <a:pt x="390006" y="463963"/>
                      <a:pt x="379910" y="466344"/>
                      <a:pt x="369813" y="464725"/>
                    </a:cubicBezTo>
                    <a:cubicBezTo>
                      <a:pt x="359717" y="463106"/>
                      <a:pt x="350954" y="457676"/>
                      <a:pt x="344953" y="449485"/>
                    </a:cubicBezTo>
                    <a:cubicBezTo>
                      <a:pt x="338952" y="441293"/>
                      <a:pt x="336571" y="431197"/>
                      <a:pt x="338190" y="421100"/>
                    </a:cubicBezTo>
                    <a:cubicBezTo>
                      <a:pt x="339809" y="411004"/>
                      <a:pt x="345143" y="402241"/>
                      <a:pt x="353430" y="396240"/>
                    </a:cubicBezTo>
                    <a:cubicBezTo>
                      <a:pt x="360098" y="391573"/>
                      <a:pt x="367908" y="389001"/>
                      <a:pt x="375814" y="389001"/>
                    </a:cubicBezTo>
                    <a:close/>
                    <a:moveTo>
                      <a:pt x="478874" y="231934"/>
                    </a:moveTo>
                    <a:cubicBezTo>
                      <a:pt x="474207" y="240983"/>
                      <a:pt x="466397" y="247745"/>
                      <a:pt x="456681" y="250889"/>
                    </a:cubicBezTo>
                    <a:lnTo>
                      <a:pt x="456681" y="250889"/>
                    </a:lnTo>
                    <a:cubicBezTo>
                      <a:pt x="446966" y="254032"/>
                      <a:pt x="436679" y="253270"/>
                      <a:pt x="427630" y="248603"/>
                    </a:cubicBezTo>
                    <a:cubicBezTo>
                      <a:pt x="418581" y="243935"/>
                      <a:pt x="411818" y="236125"/>
                      <a:pt x="408675" y="226409"/>
                    </a:cubicBezTo>
                    <a:cubicBezTo>
                      <a:pt x="405532" y="216694"/>
                      <a:pt x="406294" y="206407"/>
                      <a:pt x="410961" y="197358"/>
                    </a:cubicBezTo>
                    <a:cubicBezTo>
                      <a:pt x="415533" y="188309"/>
                      <a:pt x="423439" y="181547"/>
                      <a:pt x="433154" y="178403"/>
                    </a:cubicBezTo>
                    <a:cubicBezTo>
                      <a:pt x="437060" y="177165"/>
                      <a:pt x="440965" y="176498"/>
                      <a:pt x="444965" y="176498"/>
                    </a:cubicBezTo>
                    <a:cubicBezTo>
                      <a:pt x="450871" y="176498"/>
                      <a:pt x="456776" y="177927"/>
                      <a:pt x="462206" y="180689"/>
                    </a:cubicBezTo>
                    <a:cubicBezTo>
                      <a:pt x="471254" y="185357"/>
                      <a:pt x="478017" y="193167"/>
                      <a:pt x="481160" y="202883"/>
                    </a:cubicBezTo>
                    <a:cubicBezTo>
                      <a:pt x="484304" y="212598"/>
                      <a:pt x="483542" y="222885"/>
                      <a:pt x="478874" y="231934"/>
                    </a:cubicBezTo>
                    <a:close/>
                  </a:path>
                </a:pathLst>
              </a:custGeom>
              <a:solidFill>
                <a:srgbClr val="FFFFFF"/>
              </a:solidFill>
              <a:ln w="9525" cap="flat">
                <a:noFill/>
                <a:prstDash val="solid"/>
                <a:miter/>
              </a:ln>
            </p:spPr>
            <p:txBody>
              <a:bodyPr rtlCol="0" anchor="ctr"/>
              <a:lstStyle/>
              <a:p>
                <a:endParaRPr lang="en-US"/>
              </a:p>
            </p:txBody>
          </p:sp>
        </p:grpSp>
        <p:sp>
          <p:nvSpPr>
            <p:cNvPr id="111" name="TextBox 35">
              <a:extLst>
                <a:ext uri="{FF2B5EF4-FFF2-40B4-BE49-F238E27FC236}">
                  <a16:creationId xmlns:a16="http://schemas.microsoft.com/office/drawing/2014/main" id="{BE65281C-E095-4092-90F8-A785B000641D}"/>
                </a:ext>
              </a:extLst>
            </p:cNvPr>
            <p:cNvSpPr txBox="1"/>
            <p:nvPr/>
          </p:nvSpPr>
          <p:spPr bwMode="gray">
            <a:xfrm>
              <a:off x="1249633" y="4086097"/>
              <a:ext cx="1227845" cy="424732"/>
            </a:xfrm>
            <a:prstGeom prst="rect">
              <a:avLst/>
            </a:prstGeom>
            <a:noFill/>
            <a:ln w="19050">
              <a:noFill/>
            </a:ln>
          </p:spPr>
          <p:txBody>
            <a:bodyPr wrap="square"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lvl="0" algn="l">
                <a:spcBef>
                  <a:spcPts val="0"/>
                </a:spcBef>
                <a:spcAft>
                  <a:spcPts val="0"/>
                </a:spcAft>
                <a:defRPr/>
              </a:pPr>
              <a:r>
                <a:rPr lang="en-US" sz="1200" b="1">
                  <a:solidFill>
                    <a:srgbClr val="002856"/>
                  </a:solidFill>
                  <a:latin typeface="+mj-lt"/>
                </a:rPr>
                <a:t>Governance Framework</a:t>
              </a:r>
            </a:p>
          </p:txBody>
        </p:sp>
      </p:grpSp>
      <p:grpSp>
        <p:nvGrpSpPr>
          <p:cNvPr id="20" name="Group 19">
            <a:extLst>
              <a:ext uri="{FF2B5EF4-FFF2-40B4-BE49-F238E27FC236}">
                <a16:creationId xmlns:a16="http://schemas.microsoft.com/office/drawing/2014/main" id="{DFA9B8FB-803C-464D-8C72-860FD27F9F97}"/>
              </a:ext>
            </a:extLst>
          </p:cNvPr>
          <p:cNvGrpSpPr/>
          <p:nvPr/>
        </p:nvGrpSpPr>
        <p:grpSpPr>
          <a:xfrm>
            <a:off x="772822" y="5486911"/>
            <a:ext cx="1785869" cy="424732"/>
            <a:chOff x="847125" y="5486911"/>
            <a:chExt cx="1785869" cy="424732"/>
          </a:xfrm>
        </p:grpSpPr>
        <p:grpSp>
          <p:nvGrpSpPr>
            <p:cNvPr id="145" name="Group 144">
              <a:extLst>
                <a:ext uri="{FF2B5EF4-FFF2-40B4-BE49-F238E27FC236}">
                  <a16:creationId xmlns:a16="http://schemas.microsoft.com/office/drawing/2014/main" id="{E31BABBA-2EA1-400E-90DB-C7300372C32A}"/>
                </a:ext>
              </a:extLst>
            </p:cNvPr>
            <p:cNvGrpSpPr/>
            <p:nvPr/>
          </p:nvGrpSpPr>
          <p:grpSpPr>
            <a:xfrm>
              <a:off x="847125" y="5493537"/>
              <a:ext cx="411480" cy="411480"/>
              <a:chOff x="6968860" y="6253381"/>
              <a:chExt cx="457200" cy="457200"/>
            </a:xfrm>
          </p:grpSpPr>
          <p:sp>
            <p:nvSpPr>
              <p:cNvPr id="146" name="Oval 145">
                <a:extLst>
                  <a:ext uri="{FF2B5EF4-FFF2-40B4-BE49-F238E27FC236}">
                    <a16:creationId xmlns:a16="http://schemas.microsoft.com/office/drawing/2014/main" id="{1EF3F085-3CC0-4203-8C06-07A3587DA1E3}"/>
                  </a:ext>
                </a:extLst>
              </p:cNvPr>
              <p:cNvSpPr/>
              <p:nvPr/>
            </p:nvSpPr>
            <p:spPr bwMode="auto">
              <a:xfrm>
                <a:off x="6968860" y="6253381"/>
                <a:ext cx="457200" cy="457200"/>
              </a:xfrm>
              <a:prstGeom prst="ellipse">
                <a:avLst/>
              </a:prstGeom>
              <a:solidFill>
                <a:srgbClr val="D0DEEA"/>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147" name="Freeform: Shape 146">
                <a:extLst>
                  <a:ext uri="{FF2B5EF4-FFF2-40B4-BE49-F238E27FC236}">
                    <a16:creationId xmlns:a16="http://schemas.microsoft.com/office/drawing/2014/main" id="{DA271BD6-C9CA-4EB7-9F18-D4D09700FDF4}"/>
                  </a:ext>
                </a:extLst>
              </p:cNvPr>
              <p:cNvSpPr>
                <a:spLocks noChangeAspect="1"/>
              </p:cNvSpPr>
              <p:nvPr/>
            </p:nvSpPr>
            <p:spPr bwMode="gray">
              <a:xfrm>
                <a:off x="7060300" y="6369314"/>
                <a:ext cx="274320" cy="225335"/>
              </a:xfrm>
              <a:custGeom>
                <a:avLst/>
                <a:gdLst>
                  <a:gd name="connsiteX0" fmla="*/ 403193 w 533400"/>
                  <a:gd name="connsiteY0" fmla="*/ 262604 h 438150"/>
                  <a:gd name="connsiteX1" fmla="*/ 456438 w 533400"/>
                  <a:gd name="connsiteY1" fmla="*/ 315849 h 438150"/>
                  <a:gd name="connsiteX2" fmla="*/ 340233 w 533400"/>
                  <a:gd name="connsiteY2" fmla="*/ 315849 h 438150"/>
                  <a:gd name="connsiteX3" fmla="*/ 264795 w 533400"/>
                  <a:gd name="connsiteY3" fmla="*/ 220599 h 438150"/>
                  <a:gd name="connsiteX4" fmla="*/ 340233 w 533400"/>
                  <a:gd name="connsiteY4" fmla="*/ 125349 h 438150"/>
                  <a:gd name="connsiteX5" fmla="*/ 456438 w 533400"/>
                  <a:gd name="connsiteY5" fmla="*/ 125349 h 438150"/>
                  <a:gd name="connsiteX6" fmla="*/ 403193 w 533400"/>
                  <a:gd name="connsiteY6" fmla="*/ 178594 h 438150"/>
                  <a:gd name="connsiteX7" fmla="*/ 430149 w 533400"/>
                  <a:gd name="connsiteY7" fmla="*/ 205454 h 438150"/>
                  <a:gd name="connsiteX8" fmla="*/ 529400 w 533400"/>
                  <a:gd name="connsiteY8" fmla="*/ 106299 h 438150"/>
                  <a:gd name="connsiteX9" fmla="*/ 430149 w 533400"/>
                  <a:gd name="connsiteY9" fmla="*/ 7144 h 438150"/>
                  <a:gd name="connsiteX10" fmla="*/ 403193 w 533400"/>
                  <a:gd name="connsiteY10" fmla="*/ 34004 h 438150"/>
                  <a:gd name="connsiteX11" fmla="*/ 456438 w 533400"/>
                  <a:gd name="connsiteY11" fmla="*/ 87249 h 438150"/>
                  <a:gd name="connsiteX12" fmla="*/ 321755 w 533400"/>
                  <a:gd name="connsiteY12" fmla="*/ 87249 h 438150"/>
                  <a:gd name="connsiteX13" fmla="*/ 240506 w 533400"/>
                  <a:gd name="connsiteY13" fmla="*/ 189929 h 438150"/>
                  <a:gd name="connsiteX14" fmla="*/ 159258 w 533400"/>
                  <a:gd name="connsiteY14" fmla="*/ 87249 h 438150"/>
                  <a:gd name="connsiteX15" fmla="*/ 7144 w 533400"/>
                  <a:gd name="connsiteY15" fmla="*/ 87249 h 438150"/>
                  <a:gd name="connsiteX16" fmla="*/ 7144 w 533400"/>
                  <a:gd name="connsiteY16" fmla="*/ 125349 h 438150"/>
                  <a:gd name="connsiteX17" fmla="*/ 140779 w 533400"/>
                  <a:gd name="connsiteY17" fmla="*/ 125349 h 438150"/>
                  <a:gd name="connsiteX18" fmla="*/ 216218 w 533400"/>
                  <a:gd name="connsiteY18" fmla="*/ 220599 h 438150"/>
                  <a:gd name="connsiteX19" fmla="*/ 140779 w 533400"/>
                  <a:gd name="connsiteY19" fmla="*/ 315849 h 438150"/>
                  <a:gd name="connsiteX20" fmla="*/ 7144 w 533400"/>
                  <a:gd name="connsiteY20" fmla="*/ 315849 h 438150"/>
                  <a:gd name="connsiteX21" fmla="*/ 7144 w 533400"/>
                  <a:gd name="connsiteY21" fmla="*/ 353949 h 438150"/>
                  <a:gd name="connsiteX22" fmla="*/ 159258 w 533400"/>
                  <a:gd name="connsiteY22" fmla="*/ 353949 h 438150"/>
                  <a:gd name="connsiteX23" fmla="*/ 240506 w 533400"/>
                  <a:gd name="connsiteY23" fmla="*/ 251269 h 438150"/>
                  <a:gd name="connsiteX24" fmla="*/ 321755 w 533400"/>
                  <a:gd name="connsiteY24" fmla="*/ 353949 h 438150"/>
                  <a:gd name="connsiteX25" fmla="*/ 456438 w 533400"/>
                  <a:gd name="connsiteY25" fmla="*/ 353949 h 438150"/>
                  <a:gd name="connsiteX26" fmla="*/ 403193 w 533400"/>
                  <a:gd name="connsiteY26" fmla="*/ 407194 h 438150"/>
                  <a:gd name="connsiteX27" fmla="*/ 430149 w 533400"/>
                  <a:gd name="connsiteY27" fmla="*/ 434054 h 438150"/>
                  <a:gd name="connsiteX28" fmla="*/ 529400 w 533400"/>
                  <a:gd name="connsiteY28" fmla="*/ 334899 h 438150"/>
                  <a:gd name="connsiteX29" fmla="*/ 430149 w 533400"/>
                  <a:gd name="connsiteY29" fmla="*/ 23574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3400" h="438150">
                    <a:moveTo>
                      <a:pt x="403193" y="262604"/>
                    </a:moveTo>
                    <a:lnTo>
                      <a:pt x="456438" y="315849"/>
                    </a:lnTo>
                    <a:lnTo>
                      <a:pt x="340233" y="315849"/>
                    </a:lnTo>
                    <a:lnTo>
                      <a:pt x="264795" y="220599"/>
                    </a:lnTo>
                    <a:lnTo>
                      <a:pt x="340233" y="125349"/>
                    </a:lnTo>
                    <a:lnTo>
                      <a:pt x="456438" y="125349"/>
                    </a:lnTo>
                    <a:lnTo>
                      <a:pt x="403193" y="178594"/>
                    </a:lnTo>
                    <a:lnTo>
                      <a:pt x="430149" y="205454"/>
                    </a:lnTo>
                    <a:lnTo>
                      <a:pt x="529400" y="106299"/>
                    </a:lnTo>
                    <a:lnTo>
                      <a:pt x="430149" y="7144"/>
                    </a:lnTo>
                    <a:lnTo>
                      <a:pt x="403193" y="34004"/>
                    </a:lnTo>
                    <a:lnTo>
                      <a:pt x="456438" y="87249"/>
                    </a:lnTo>
                    <a:lnTo>
                      <a:pt x="321755" y="87249"/>
                    </a:lnTo>
                    <a:lnTo>
                      <a:pt x="240506" y="189929"/>
                    </a:lnTo>
                    <a:lnTo>
                      <a:pt x="159258" y="87249"/>
                    </a:lnTo>
                    <a:lnTo>
                      <a:pt x="7144" y="87249"/>
                    </a:lnTo>
                    <a:lnTo>
                      <a:pt x="7144" y="125349"/>
                    </a:lnTo>
                    <a:lnTo>
                      <a:pt x="140779" y="125349"/>
                    </a:lnTo>
                    <a:lnTo>
                      <a:pt x="216218" y="220599"/>
                    </a:lnTo>
                    <a:lnTo>
                      <a:pt x="140779" y="315849"/>
                    </a:lnTo>
                    <a:lnTo>
                      <a:pt x="7144" y="315849"/>
                    </a:lnTo>
                    <a:lnTo>
                      <a:pt x="7144" y="353949"/>
                    </a:lnTo>
                    <a:lnTo>
                      <a:pt x="159258" y="353949"/>
                    </a:lnTo>
                    <a:lnTo>
                      <a:pt x="240506" y="251269"/>
                    </a:lnTo>
                    <a:lnTo>
                      <a:pt x="321755" y="353949"/>
                    </a:lnTo>
                    <a:lnTo>
                      <a:pt x="456438" y="353949"/>
                    </a:lnTo>
                    <a:lnTo>
                      <a:pt x="403193" y="407194"/>
                    </a:lnTo>
                    <a:lnTo>
                      <a:pt x="430149" y="434054"/>
                    </a:lnTo>
                    <a:lnTo>
                      <a:pt x="529400" y="334899"/>
                    </a:lnTo>
                    <a:lnTo>
                      <a:pt x="430149" y="235744"/>
                    </a:lnTo>
                    <a:close/>
                  </a:path>
                </a:pathLst>
              </a:custGeom>
              <a:solidFill>
                <a:srgbClr val="002856"/>
              </a:solidFill>
              <a:ln w="9525" cap="flat">
                <a:noFill/>
                <a:prstDash val="solid"/>
                <a:miter/>
              </a:ln>
            </p:spPr>
            <p:txBody>
              <a:bodyPr rtlCol="0" anchor="ctr"/>
              <a:lstStyle/>
              <a:p>
                <a:endParaRPr lang="en-US"/>
              </a:p>
            </p:txBody>
          </p:sp>
        </p:grpSp>
        <p:sp>
          <p:nvSpPr>
            <p:cNvPr id="112" name="TextBox 35">
              <a:extLst>
                <a:ext uri="{FF2B5EF4-FFF2-40B4-BE49-F238E27FC236}">
                  <a16:creationId xmlns:a16="http://schemas.microsoft.com/office/drawing/2014/main" id="{6EE4902C-45D9-43A1-AADC-CE4135071ED2}"/>
                </a:ext>
              </a:extLst>
            </p:cNvPr>
            <p:cNvSpPr txBox="1"/>
            <p:nvPr/>
          </p:nvSpPr>
          <p:spPr bwMode="gray">
            <a:xfrm>
              <a:off x="1249633" y="5486911"/>
              <a:ext cx="1383361" cy="424732"/>
            </a:xfrm>
            <a:prstGeom prst="rect">
              <a:avLst/>
            </a:prstGeom>
            <a:noFill/>
            <a:ln w="19050">
              <a:noFill/>
            </a:ln>
          </p:spPr>
          <p:txBody>
            <a:bodyPr wrap="square"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lvl="0" algn="l">
                <a:spcBef>
                  <a:spcPts val="0"/>
                </a:spcBef>
                <a:spcAft>
                  <a:spcPts val="0"/>
                </a:spcAft>
                <a:defRPr/>
              </a:pPr>
              <a:r>
                <a:rPr lang="en-US" sz="1200" b="1">
                  <a:solidFill>
                    <a:srgbClr val="002856"/>
                  </a:solidFill>
                  <a:latin typeface="+mj-lt"/>
                </a:rPr>
                <a:t>Cross Agency Data Sharing</a:t>
              </a:r>
            </a:p>
          </p:txBody>
        </p:sp>
      </p:grpSp>
      <p:cxnSp>
        <p:nvCxnSpPr>
          <p:cNvPr id="40" name="Straight Connector 39">
            <a:extLst>
              <a:ext uri="{FF2B5EF4-FFF2-40B4-BE49-F238E27FC236}">
                <a16:creationId xmlns:a16="http://schemas.microsoft.com/office/drawing/2014/main" id="{D307A28B-149D-4324-B814-90FF358CD187}"/>
              </a:ext>
            </a:extLst>
          </p:cNvPr>
          <p:cNvCxnSpPr>
            <a:cxnSpLocks/>
          </p:cNvCxnSpPr>
          <p:nvPr/>
        </p:nvCxnSpPr>
        <p:spPr bwMode="auto">
          <a:xfrm flipH="1" flipV="1">
            <a:off x="2600921" y="5730001"/>
            <a:ext cx="1737360" cy="0"/>
          </a:xfrm>
          <a:prstGeom prst="line">
            <a:avLst/>
          </a:prstGeom>
          <a:solidFill>
            <a:srgbClr val="00529B"/>
          </a:solidFill>
          <a:ln w="28575" cap="flat" cmpd="sng" algn="ctr">
            <a:solidFill>
              <a:srgbClr val="FFFFFF"/>
            </a:solidFill>
            <a:prstDash val="dash"/>
            <a:round/>
            <a:headEnd type="none" w="med" len="med"/>
            <a:tailEnd type="none" w="lg" len="lg"/>
          </a:ln>
          <a:effectLst/>
        </p:spPr>
      </p:cxnSp>
      <p:sp>
        <p:nvSpPr>
          <p:cNvPr id="46" name="TextBox 45">
            <a:extLst>
              <a:ext uri="{FF2B5EF4-FFF2-40B4-BE49-F238E27FC236}">
                <a16:creationId xmlns:a16="http://schemas.microsoft.com/office/drawing/2014/main" id="{CECBD738-2026-41EC-9D6D-E19B0B150251}"/>
              </a:ext>
            </a:extLst>
          </p:cNvPr>
          <p:cNvSpPr txBox="1"/>
          <p:nvPr/>
        </p:nvSpPr>
        <p:spPr>
          <a:xfrm>
            <a:off x="2835568" y="5522355"/>
            <a:ext cx="1250121"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Define CTS Hub Requirements &amp; Architecture</a:t>
            </a:r>
          </a:p>
        </p:txBody>
      </p:sp>
      <p:sp>
        <p:nvSpPr>
          <p:cNvPr id="12" name="Freeform: Shape 11">
            <a:extLst>
              <a:ext uri="{FF2B5EF4-FFF2-40B4-BE49-F238E27FC236}">
                <a16:creationId xmlns:a16="http://schemas.microsoft.com/office/drawing/2014/main" id="{F6C7101E-6738-4B98-B57D-2A99C2558B03}"/>
              </a:ext>
            </a:extLst>
          </p:cNvPr>
          <p:cNvSpPr/>
          <p:nvPr/>
        </p:nvSpPr>
        <p:spPr>
          <a:xfrm>
            <a:off x="5861649" y="1566224"/>
            <a:ext cx="2113472" cy="2169543"/>
          </a:xfrm>
          <a:custGeom>
            <a:avLst/>
            <a:gdLst>
              <a:gd name="connsiteX0" fmla="*/ 0 w 2113472"/>
              <a:gd name="connsiteY0" fmla="*/ 0 h 2169543"/>
              <a:gd name="connsiteX1" fmla="*/ 470140 w 2113472"/>
              <a:gd name="connsiteY1" fmla="*/ 94890 h 2169543"/>
              <a:gd name="connsiteX2" fmla="*/ 1112808 w 2113472"/>
              <a:gd name="connsiteY2" fmla="*/ 293298 h 2169543"/>
              <a:gd name="connsiteX3" fmla="*/ 1626079 w 2113472"/>
              <a:gd name="connsiteY3" fmla="*/ 651294 h 2169543"/>
              <a:gd name="connsiteX4" fmla="*/ 1984076 w 2113472"/>
              <a:gd name="connsiteY4" fmla="*/ 1341407 h 2169543"/>
              <a:gd name="connsiteX5" fmla="*/ 2113472 w 2113472"/>
              <a:gd name="connsiteY5" fmla="*/ 2169543 h 216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3472" h="2169543">
                <a:moveTo>
                  <a:pt x="0" y="0"/>
                </a:moveTo>
                <a:cubicBezTo>
                  <a:pt x="142336" y="23003"/>
                  <a:pt x="284672" y="46007"/>
                  <a:pt x="470140" y="94890"/>
                </a:cubicBezTo>
                <a:cubicBezTo>
                  <a:pt x="655608" y="143773"/>
                  <a:pt x="920152" y="200564"/>
                  <a:pt x="1112808" y="293298"/>
                </a:cubicBezTo>
                <a:cubicBezTo>
                  <a:pt x="1305464" y="386032"/>
                  <a:pt x="1480868" y="476609"/>
                  <a:pt x="1626079" y="651294"/>
                </a:cubicBezTo>
                <a:cubicBezTo>
                  <a:pt x="1771290" y="825979"/>
                  <a:pt x="1902844" y="1088366"/>
                  <a:pt x="1984076" y="1341407"/>
                </a:cubicBezTo>
                <a:cubicBezTo>
                  <a:pt x="2065308" y="1594448"/>
                  <a:pt x="2089390" y="1881995"/>
                  <a:pt x="2113472" y="2169543"/>
                </a:cubicBezTo>
              </a:path>
            </a:pathLst>
          </a:custGeom>
          <a:noFill/>
          <a:ln w="2857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846BF162-A260-420E-A4AB-D662CB6EA4F8}"/>
              </a:ext>
            </a:extLst>
          </p:cNvPr>
          <p:cNvSpPr txBox="1"/>
          <p:nvPr/>
        </p:nvSpPr>
        <p:spPr>
          <a:xfrm>
            <a:off x="6643365" y="1835079"/>
            <a:ext cx="1522486"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Develop Compliance Monitoring Processes</a:t>
            </a:r>
          </a:p>
        </p:txBody>
      </p:sp>
      <p:sp>
        <p:nvSpPr>
          <p:cNvPr id="66" name="Rectangle 65">
            <a:extLst>
              <a:ext uri="{FF2B5EF4-FFF2-40B4-BE49-F238E27FC236}">
                <a16:creationId xmlns:a16="http://schemas.microsoft.com/office/drawing/2014/main" id="{93A722BF-03CE-4533-8A82-C625C7358375}"/>
              </a:ext>
            </a:extLst>
          </p:cNvPr>
          <p:cNvSpPr/>
          <p:nvPr/>
        </p:nvSpPr>
        <p:spPr bwMode="auto">
          <a:xfrm rot="16200000" flipH="1">
            <a:off x="4387426" y="1527144"/>
            <a:ext cx="210312" cy="3931920"/>
          </a:xfrm>
          <a:prstGeom prst="rect">
            <a:avLst/>
          </a:pr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77" name="Freeform: Shape 76">
            <a:extLst>
              <a:ext uri="{FF2B5EF4-FFF2-40B4-BE49-F238E27FC236}">
                <a16:creationId xmlns:a16="http://schemas.microsoft.com/office/drawing/2014/main" id="{F8FC13C4-01D4-48EA-94A1-67B92C0E5515}"/>
              </a:ext>
            </a:extLst>
          </p:cNvPr>
          <p:cNvSpPr/>
          <p:nvPr/>
        </p:nvSpPr>
        <p:spPr bwMode="auto">
          <a:xfrm rot="13335915">
            <a:off x="4045081" y="3445337"/>
            <a:ext cx="54082" cy="44774"/>
          </a:xfrm>
          <a:custGeom>
            <a:avLst/>
            <a:gdLst>
              <a:gd name="connsiteX0" fmla="*/ 54082 w 54082"/>
              <a:gd name="connsiteY0" fmla="*/ 44774 h 44774"/>
              <a:gd name="connsiteX1" fmla="*/ 13738 w 54082"/>
              <a:gd name="connsiteY1" fmla="*/ 13647 h 44774"/>
              <a:gd name="connsiteX2" fmla="*/ 0 w 54082"/>
              <a:gd name="connsiteY2" fmla="*/ 0 h 44774"/>
              <a:gd name="connsiteX3" fmla="*/ 13237 w 54082"/>
              <a:gd name="connsiteY3" fmla="*/ 8827 h 44774"/>
              <a:gd name="connsiteX4" fmla="*/ 54082 w 54082"/>
              <a:gd name="connsiteY4" fmla="*/ 44774 h 4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82" h="44774">
                <a:moveTo>
                  <a:pt x="54082" y="44774"/>
                </a:moveTo>
                <a:lnTo>
                  <a:pt x="13738" y="13647"/>
                </a:lnTo>
                <a:lnTo>
                  <a:pt x="0" y="0"/>
                </a:lnTo>
                <a:lnTo>
                  <a:pt x="13237" y="8827"/>
                </a:lnTo>
                <a:lnTo>
                  <a:pt x="54082" y="44774"/>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78" name="Freeform: Shape 77">
            <a:extLst>
              <a:ext uri="{FF2B5EF4-FFF2-40B4-BE49-F238E27FC236}">
                <a16:creationId xmlns:a16="http://schemas.microsoft.com/office/drawing/2014/main" id="{8AB96EEB-993A-4D49-9AFB-1865B7DE023E}"/>
              </a:ext>
            </a:extLst>
          </p:cNvPr>
          <p:cNvSpPr/>
          <p:nvPr/>
        </p:nvSpPr>
        <p:spPr bwMode="auto">
          <a:xfrm rot="12318537">
            <a:off x="7120630" y="4129244"/>
            <a:ext cx="6400" cy="1258"/>
          </a:xfrm>
          <a:custGeom>
            <a:avLst/>
            <a:gdLst>
              <a:gd name="connsiteX0" fmla="*/ 6400 w 6400"/>
              <a:gd name="connsiteY0" fmla="*/ 0 h 1258"/>
              <a:gd name="connsiteX1" fmla="*/ 0 w 6400"/>
              <a:gd name="connsiteY1" fmla="*/ 1258 h 1258"/>
              <a:gd name="connsiteX2" fmla="*/ 0 w 6400"/>
              <a:gd name="connsiteY2" fmla="*/ 1258 h 1258"/>
              <a:gd name="connsiteX3" fmla="*/ 6400 w 6400"/>
              <a:gd name="connsiteY3" fmla="*/ 0 h 1258"/>
            </a:gdLst>
            <a:ahLst/>
            <a:cxnLst>
              <a:cxn ang="0">
                <a:pos x="connsiteX0" y="connsiteY0"/>
              </a:cxn>
              <a:cxn ang="0">
                <a:pos x="connsiteX1" y="connsiteY1"/>
              </a:cxn>
              <a:cxn ang="0">
                <a:pos x="connsiteX2" y="connsiteY2"/>
              </a:cxn>
              <a:cxn ang="0">
                <a:pos x="connsiteX3" y="connsiteY3"/>
              </a:cxn>
            </a:cxnLst>
            <a:rect l="l" t="t" r="r" b="b"/>
            <a:pathLst>
              <a:path w="6400" h="1258">
                <a:moveTo>
                  <a:pt x="6400" y="0"/>
                </a:moveTo>
                <a:lnTo>
                  <a:pt x="0" y="1258"/>
                </a:lnTo>
                <a:lnTo>
                  <a:pt x="0" y="1258"/>
                </a:lnTo>
                <a:lnTo>
                  <a:pt x="6400" y="0"/>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cxnSp>
        <p:nvCxnSpPr>
          <p:cNvPr id="79" name="Straight Connector 78">
            <a:extLst>
              <a:ext uri="{FF2B5EF4-FFF2-40B4-BE49-F238E27FC236}">
                <a16:creationId xmlns:a16="http://schemas.microsoft.com/office/drawing/2014/main" id="{E19049C7-1DC9-4B6F-AF58-DEB4B10A6BCC}"/>
              </a:ext>
            </a:extLst>
          </p:cNvPr>
          <p:cNvCxnSpPr>
            <a:cxnSpLocks/>
          </p:cNvCxnSpPr>
          <p:nvPr/>
        </p:nvCxnSpPr>
        <p:spPr bwMode="auto">
          <a:xfrm flipH="1">
            <a:off x="2575111" y="3493347"/>
            <a:ext cx="3749040" cy="0"/>
          </a:xfrm>
          <a:prstGeom prst="line">
            <a:avLst/>
          </a:prstGeom>
          <a:solidFill>
            <a:srgbClr val="00529B"/>
          </a:solidFill>
          <a:ln w="28575" cap="flat" cmpd="sng" algn="ctr">
            <a:solidFill>
              <a:srgbClr val="FFFFFF"/>
            </a:solidFill>
            <a:prstDash val="dash"/>
            <a:round/>
            <a:headEnd type="none" w="med" len="med"/>
            <a:tailEnd type="none" w="lg" len="lg"/>
          </a:ln>
          <a:effectLst/>
        </p:spPr>
      </p:cxnSp>
      <p:sp>
        <p:nvSpPr>
          <p:cNvPr id="82" name="TextBox 81">
            <a:extLst>
              <a:ext uri="{FF2B5EF4-FFF2-40B4-BE49-F238E27FC236}">
                <a16:creationId xmlns:a16="http://schemas.microsoft.com/office/drawing/2014/main" id="{7F588816-B964-4FD5-8AA6-C9F8CBAB5319}"/>
              </a:ext>
            </a:extLst>
          </p:cNvPr>
          <p:cNvSpPr txBox="1"/>
          <p:nvPr/>
        </p:nvSpPr>
        <p:spPr>
          <a:xfrm>
            <a:off x="2880991" y="3253180"/>
            <a:ext cx="1085985" cy="498598"/>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a:t>Operationalize the Unique Identifier</a:t>
            </a:r>
          </a:p>
        </p:txBody>
      </p:sp>
      <p:sp>
        <p:nvSpPr>
          <p:cNvPr id="86" name="Oval 85">
            <a:extLst>
              <a:ext uri="{FF2B5EF4-FFF2-40B4-BE49-F238E27FC236}">
                <a16:creationId xmlns:a16="http://schemas.microsoft.com/office/drawing/2014/main" id="{9B782F72-7FF8-442B-ADAD-967D397FFA29}"/>
              </a:ext>
            </a:extLst>
          </p:cNvPr>
          <p:cNvSpPr/>
          <p:nvPr/>
        </p:nvSpPr>
        <p:spPr bwMode="auto">
          <a:xfrm>
            <a:off x="772822" y="3335810"/>
            <a:ext cx="411480" cy="411480"/>
          </a:xfrm>
          <a:prstGeom prst="ellipse">
            <a:avLst/>
          </a:prstGeom>
          <a:solidFill>
            <a:srgbClr val="0073A1"/>
          </a:solidFill>
          <a:ln w="28575" cap="flat" cmpd="sng" algn="ctr">
            <a:solidFill>
              <a:srgbClr val="FFFFF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err="1">
              <a:ln>
                <a:noFill/>
              </a:ln>
              <a:solidFill>
                <a:srgbClr val="FFFFFF"/>
              </a:solidFill>
              <a:effectLst/>
              <a:uLnTx/>
              <a:uFillTx/>
              <a:ea typeface="Arial Unicode MS" pitchFamily="34" charset="-128"/>
              <a:cs typeface="Arial Unicode MS" pitchFamily="34" charset="-128"/>
            </a:endParaRPr>
          </a:p>
        </p:txBody>
      </p:sp>
      <p:sp>
        <p:nvSpPr>
          <p:cNvPr id="85" name="TextBox 34">
            <a:extLst>
              <a:ext uri="{FF2B5EF4-FFF2-40B4-BE49-F238E27FC236}">
                <a16:creationId xmlns:a16="http://schemas.microsoft.com/office/drawing/2014/main" id="{05682670-507D-4FD3-AC83-3DA69F07E356}"/>
              </a:ext>
            </a:extLst>
          </p:cNvPr>
          <p:cNvSpPr txBox="1"/>
          <p:nvPr/>
        </p:nvSpPr>
        <p:spPr bwMode="gray">
          <a:xfrm>
            <a:off x="1175330" y="3346850"/>
            <a:ext cx="1382766" cy="424732"/>
          </a:xfrm>
          <a:prstGeom prst="rect">
            <a:avLst/>
          </a:prstGeom>
          <a:noFill/>
          <a:ln w="19050">
            <a:noFill/>
          </a:ln>
        </p:spPr>
        <p:txBody>
          <a:bodyPr wrap="square"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lvl="0" algn="l">
              <a:spcBef>
                <a:spcPts val="0"/>
              </a:spcBef>
              <a:spcAft>
                <a:spcPts val="0"/>
              </a:spcAft>
              <a:defRPr/>
            </a:pPr>
            <a:r>
              <a:rPr lang="en-US" sz="1200" b="1">
                <a:solidFill>
                  <a:srgbClr val="002856"/>
                </a:solidFill>
                <a:latin typeface="+mj-lt"/>
              </a:rPr>
              <a:t>Unique Identifier</a:t>
            </a:r>
          </a:p>
        </p:txBody>
      </p:sp>
      <p:sp>
        <p:nvSpPr>
          <p:cNvPr id="80" name="Block Arc 122">
            <a:extLst>
              <a:ext uri="{FF2B5EF4-FFF2-40B4-BE49-F238E27FC236}">
                <a16:creationId xmlns:a16="http://schemas.microsoft.com/office/drawing/2014/main" id="{A6D7E1C5-419E-4854-BC6E-304C099049C1}"/>
              </a:ext>
            </a:extLst>
          </p:cNvPr>
          <p:cNvSpPr/>
          <p:nvPr/>
        </p:nvSpPr>
        <p:spPr bwMode="auto">
          <a:xfrm rot="4478791">
            <a:off x="6502619" y="3272793"/>
            <a:ext cx="704398" cy="746586"/>
          </a:xfrm>
          <a:custGeom>
            <a:avLst/>
            <a:gdLst>
              <a:gd name="connsiteX0" fmla="*/ 328079 w 2184566"/>
              <a:gd name="connsiteY0" fmla="*/ 305514 h 2140180"/>
              <a:gd name="connsiteX1" fmla="*/ 1621418 w 2184566"/>
              <a:gd name="connsiteY1" fmla="*/ 133943 h 2140180"/>
              <a:gd name="connsiteX2" fmla="*/ 2151116 w 2184566"/>
              <a:gd name="connsiteY2" fmla="*/ 1332883 h 2140180"/>
              <a:gd name="connsiteX3" fmla="*/ 1946320 w 2184566"/>
              <a:gd name="connsiteY3" fmla="*/ 1282054 h 2140180"/>
              <a:gd name="connsiteX4" fmla="*/ 1517578 w 2184566"/>
              <a:gd name="connsiteY4" fmla="*/ 317657 h 2140180"/>
              <a:gd name="connsiteX5" fmla="*/ 477272 w 2184566"/>
              <a:gd name="connsiteY5" fmla="*/ 454779 h 2140180"/>
              <a:gd name="connsiteX6" fmla="*/ 328079 w 2184566"/>
              <a:gd name="connsiteY6" fmla="*/ 305514 h 2140180"/>
              <a:gd name="connsiteX0" fmla="*/ 0 w 2390894"/>
              <a:gd name="connsiteY0" fmla="*/ 704037 h 1731406"/>
              <a:gd name="connsiteX1" fmla="*/ 2256540 w 2390894"/>
              <a:gd name="connsiteY1" fmla="*/ 54443 h 1731406"/>
              <a:gd name="connsiteX2" fmla="*/ 1823037 w 2390894"/>
              <a:gd name="connsiteY2" fmla="*/ 1731406 h 1731406"/>
              <a:gd name="connsiteX3" fmla="*/ 1618241 w 2390894"/>
              <a:gd name="connsiteY3" fmla="*/ 1680577 h 1731406"/>
              <a:gd name="connsiteX4" fmla="*/ 1189499 w 2390894"/>
              <a:gd name="connsiteY4" fmla="*/ 716180 h 1731406"/>
              <a:gd name="connsiteX5" fmla="*/ 149193 w 2390894"/>
              <a:gd name="connsiteY5" fmla="*/ 853302 h 1731406"/>
              <a:gd name="connsiteX6" fmla="*/ 0 w 2390894"/>
              <a:gd name="connsiteY6" fmla="*/ 704037 h 1731406"/>
              <a:gd name="connsiteX0" fmla="*/ 0 w 2280416"/>
              <a:gd name="connsiteY0" fmla="*/ 811203 h 1838572"/>
              <a:gd name="connsiteX1" fmla="*/ 2256540 w 2280416"/>
              <a:gd name="connsiteY1" fmla="*/ 161609 h 1838572"/>
              <a:gd name="connsiteX2" fmla="*/ 1823037 w 2280416"/>
              <a:gd name="connsiteY2" fmla="*/ 1838572 h 1838572"/>
              <a:gd name="connsiteX3" fmla="*/ 1618241 w 2280416"/>
              <a:gd name="connsiteY3" fmla="*/ 1787743 h 1838572"/>
              <a:gd name="connsiteX4" fmla="*/ 1189499 w 2280416"/>
              <a:gd name="connsiteY4" fmla="*/ 823346 h 1838572"/>
              <a:gd name="connsiteX5" fmla="*/ 149193 w 2280416"/>
              <a:gd name="connsiteY5" fmla="*/ 960468 h 1838572"/>
              <a:gd name="connsiteX6" fmla="*/ 0 w 2280416"/>
              <a:gd name="connsiteY6" fmla="*/ 811203 h 1838572"/>
              <a:gd name="connsiteX0" fmla="*/ 1853256 w 2131458"/>
              <a:gd name="connsiteY0" fmla="*/ 73830 h 2725182"/>
              <a:gd name="connsiteX1" fmla="*/ 2107347 w 2131458"/>
              <a:gd name="connsiteY1" fmla="*/ 1048219 h 2725182"/>
              <a:gd name="connsiteX2" fmla="*/ 1673844 w 2131458"/>
              <a:gd name="connsiteY2" fmla="*/ 2725182 h 2725182"/>
              <a:gd name="connsiteX3" fmla="*/ 1469048 w 2131458"/>
              <a:gd name="connsiteY3" fmla="*/ 2674353 h 2725182"/>
              <a:gd name="connsiteX4" fmla="*/ 1040306 w 2131458"/>
              <a:gd name="connsiteY4" fmla="*/ 1709956 h 2725182"/>
              <a:gd name="connsiteX5" fmla="*/ 0 w 2131458"/>
              <a:gd name="connsiteY5" fmla="*/ 1847078 h 2725182"/>
              <a:gd name="connsiteX6" fmla="*/ 1853256 w 2131458"/>
              <a:gd name="connsiteY6" fmla="*/ 73830 h 2725182"/>
              <a:gd name="connsiteX0" fmla="*/ 1853256 w 2130780"/>
              <a:gd name="connsiteY0" fmla="*/ 0 h 2651352"/>
              <a:gd name="connsiteX1" fmla="*/ 2107347 w 2130780"/>
              <a:gd name="connsiteY1" fmla="*/ 974389 h 2651352"/>
              <a:gd name="connsiteX2" fmla="*/ 1673844 w 2130780"/>
              <a:gd name="connsiteY2" fmla="*/ 2651352 h 2651352"/>
              <a:gd name="connsiteX3" fmla="*/ 1469048 w 2130780"/>
              <a:gd name="connsiteY3" fmla="*/ 2600523 h 2651352"/>
              <a:gd name="connsiteX4" fmla="*/ 1040306 w 2130780"/>
              <a:gd name="connsiteY4" fmla="*/ 1636126 h 2651352"/>
              <a:gd name="connsiteX5" fmla="*/ 0 w 2130780"/>
              <a:gd name="connsiteY5" fmla="*/ 1773248 h 2651352"/>
              <a:gd name="connsiteX6" fmla="*/ 1853256 w 2130780"/>
              <a:gd name="connsiteY6" fmla="*/ 0 h 2651352"/>
              <a:gd name="connsiteX0" fmla="*/ 1853256 w 2130780"/>
              <a:gd name="connsiteY0" fmla="*/ 0 h 2651352"/>
              <a:gd name="connsiteX1" fmla="*/ 2107347 w 2130780"/>
              <a:gd name="connsiteY1" fmla="*/ 974389 h 2651352"/>
              <a:gd name="connsiteX2" fmla="*/ 1673844 w 2130780"/>
              <a:gd name="connsiteY2" fmla="*/ 2651352 h 2651352"/>
              <a:gd name="connsiteX3" fmla="*/ 1469048 w 2130780"/>
              <a:gd name="connsiteY3" fmla="*/ 2600523 h 2651352"/>
              <a:gd name="connsiteX4" fmla="*/ 1285295 w 2130780"/>
              <a:gd name="connsiteY4" fmla="*/ 1721285 h 2651352"/>
              <a:gd name="connsiteX5" fmla="*/ 0 w 2130780"/>
              <a:gd name="connsiteY5" fmla="*/ 1773248 h 2651352"/>
              <a:gd name="connsiteX6" fmla="*/ 1853256 w 2130780"/>
              <a:gd name="connsiteY6" fmla="*/ 0 h 2651352"/>
              <a:gd name="connsiteX0" fmla="*/ 638869 w 916393"/>
              <a:gd name="connsiteY0" fmla="*/ 0 h 2651352"/>
              <a:gd name="connsiteX1" fmla="*/ 892960 w 916393"/>
              <a:gd name="connsiteY1" fmla="*/ 974389 h 2651352"/>
              <a:gd name="connsiteX2" fmla="*/ 459457 w 916393"/>
              <a:gd name="connsiteY2" fmla="*/ 2651352 h 2651352"/>
              <a:gd name="connsiteX3" fmla="*/ 254661 w 916393"/>
              <a:gd name="connsiteY3" fmla="*/ 2600523 h 2651352"/>
              <a:gd name="connsiteX4" fmla="*/ 70908 w 916393"/>
              <a:gd name="connsiteY4" fmla="*/ 1721285 h 2651352"/>
              <a:gd name="connsiteX5" fmla="*/ 460680 w 916393"/>
              <a:gd name="connsiteY5" fmla="*/ 461931 h 2651352"/>
              <a:gd name="connsiteX6" fmla="*/ 638869 w 916393"/>
              <a:gd name="connsiteY6" fmla="*/ 0 h 2651352"/>
              <a:gd name="connsiteX0" fmla="*/ 652847 w 930371"/>
              <a:gd name="connsiteY0" fmla="*/ 0 h 2651352"/>
              <a:gd name="connsiteX1" fmla="*/ 906938 w 930371"/>
              <a:gd name="connsiteY1" fmla="*/ 974389 h 2651352"/>
              <a:gd name="connsiteX2" fmla="*/ 473435 w 930371"/>
              <a:gd name="connsiteY2" fmla="*/ 2651352 h 2651352"/>
              <a:gd name="connsiteX3" fmla="*/ 268639 w 930371"/>
              <a:gd name="connsiteY3" fmla="*/ 2600523 h 2651352"/>
              <a:gd name="connsiteX4" fmla="*/ 84886 w 930371"/>
              <a:gd name="connsiteY4" fmla="*/ 1721285 h 2651352"/>
              <a:gd name="connsiteX5" fmla="*/ 474658 w 930371"/>
              <a:gd name="connsiteY5" fmla="*/ 461931 h 2651352"/>
              <a:gd name="connsiteX6" fmla="*/ 652847 w 930371"/>
              <a:gd name="connsiteY6" fmla="*/ 0 h 2651352"/>
              <a:gd name="connsiteX0" fmla="*/ 645674 w 923198"/>
              <a:gd name="connsiteY0" fmla="*/ 0 h 2651352"/>
              <a:gd name="connsiteX1" fmla="*/ 899765 w 923198"/>
              <a:gd name="connsiteY1" fmla="*/ 974389 h 2651352"/>
              <a:gd name="connsiteX2" fmla="*/ 466262 w 923198"/>
              <a:gd name="connsiteY2" fmla="*/ 2651352 h 2651352"/>
              <a:gd name="connsiteX3" fmla="*/ 261466 w 923198"/>
              <a:gd name="connsiteY3" fmla="*/ 2600523 h 2651352"/>
              <a:gd name="connsiteX4" fmla="*/ 77713 w 923198"/>
              <a:gd name="connsiteY4" fmla="*/ 1721285 h 2651352"/>
              <a:gd name="connsiteX5" fmla="*/ 561611 w 923198"/>
              <a:gd name="connsiteY5" fmla="*/ 282025 h 2651352"/>
              <a:gd name="connsiteX6" fmla="*/ 645674 w 923198"/>
              <a:gd name="connsiteY6" fmla="*/ 0 h 2651352"/>
              <a:gd name="connsiteX0" fmla="*/ 630672 w 918395"/>
              <a:gd name="connsiteY0" fmla="*/ 0 h 2727037"/>
              <a:gd name="connsiteX1" fmla="*/ 899765 w 918395"/>
              <a:gd name="connsiteY1" fmla="*/ 1050074 h 2727037"/>
              <a:gd name="connsiteX2" fmla="*/ 466262 w 918395"/>
              <a:gd name="connsiteY2" fmla="*/ 2727037 h 2727037"/>
              <a:gd name="connsiteX3" fmla="*/ 261466 w 918395"/>
              <a:gd name="connsiteY3" fmla="*/ 2676208 h 2727037"/>
              <a:gd name="connsiteX4" fmla="*/ 77713 w 918395"/>
              <a:gd name="connsiteY4" fmla="*/ 1796970 h 2727037"/>
              <a:gd name="connsiteX5" fmla="*/ 561611 w 918395"/>
              <a:gd name="connsiteY5" fmla="*/ 357710 h 2727037"/>
              <a:gd name="connsiteX6" fmla="*/ 630672 w 918395"/>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259778 w 656929"/>
              <a:gd name="connsiteY4" fmla="*/ 1256771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306108 w 656929"/>
              <a:gd name="connsiteY4" fmla="*/ 1153198 h 2727037"/>
              <a:gd name="connsiteX5" fmla="*/ 300145 w 656929"/>
              <a:gd name="connsiteY5" fmla="*/ 357710 h 2727037"/>
              <a:gd name="connsiteX6" fmla="*/ 369206 w 656929"/>
              <a:gd name="connsiteY6" fmla="*/ 0 h 2727037"/>
              <a:gd name="connsiteX0" fmla="*/ 369206 w 656929"/>
              <a:gd name="connsiteY0" fmla="*/ 0 h 2727037"/>
              <a:gd name="connsiteX1" fmla="*/ 638299 w 656929"/>
              <a:gd name="connsiteY1" fmla="*/ 1050074 h 2727037"/>
              <a:gd name="connsiteX2" fmla="*/ 204796 w 656929"/>
              <a:gd name="connsiteY2" fmla="*/ 2727037 h 2727037"/>
              <a:gd name="connsiteX3" fmla="*/ 0 w 656929"/>
              <a:gd name="connsiteY3" fmla="*/ 2676208 h 2727037"/>
              <a:gd name="connsiteX4" fmla="*/ 364506 w 656929"/>
              <a:gd name="connsiteY4" fmla="*/ 1070829 h 2727037"/>
              <a:gd name="connsiteX5" fmla="*/ 300145 w 656929"/>
              <a:gd name="connsiteY5" fmla="*/ 357710 h 2727037"/>
              <a:gd name="connsiteX6" fmla="*/ 369206 w 65692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0145 w 625089"/>
              <a:gd name="connsiteY5" fmla="*/ 35771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295746 w 625089"/>
              <a:gd name="connsiteY5" fmla="*/ 275992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295746 w 625089"/>
              <a:gd name="connsiteY5" fmla="*/ 275992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25089"/>
              <a:gd name="connsiteY0" fmla="*/ 0 h 2727037"/>
              <a:gd name="connsiteX1" fmla="*/ 593774 w 625089"/>
              <a:gd name="connsiteY1" fmla="*/ 984174 h 2727037"/>
              <a:gd name="connsiteX2" fmla="*/ 204796 w 625089"/>
              <a:gd name="connsiteY2" fmla="*/ 2727037 h 2727037"/>
              <a:gd name="connsiteX3" fmla="*/ 0 w 625089"/>
              <a:gd name="connsiteY3" fmla="*/ 2676208 h 2727037"/>
              <a:gd name="connsiteX4" fmla="*/ 364506 w 625089"/>
              <a:gd name="connsiteY4" fmla="*/ 1070829 h 2727037"/>
              <a:gd name="connsiteX5" fmla="*/ 308309 w 625089"/>
              <a:gd name="connsiteY5" fmla="*/ 230240 h 2727037"/>
              <a:gd name="connsiteX6" fmla="*/ 369206 w 625089"/>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64506 w 603821"/>
              <a:gd name="connsiteY4" fmla="*/ 1070829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3821"/>
              <a:gd name="connsiteY0" fmla="*/ 0 h 2727037"/>
              <a:gd name="connsiteX1" fmla="*/ 593774 w 603821"/>
              <a:gd name="connsiteY1" fmla="*/ 984174 h 2727037"/>
              <a:gd name="connsiteX2" fmla="*/ 204796 w 603821"/>
              <a:gd name="connsiteY2" fmla="*/ 2727037 h 2727037"/>
              <a:gd name="connsiteX3" fmla="*/ 0 w 603821"/>
              <a:gd name="connsiteY3" fmla="*/ 2676208 h 2727037"/>
              <a:gd name="connsiteX4" fmla="*/ 382286 w 603821"/>
              <a:gd name="connsiteY4" fmla="*/ 1071238 h 2727037"/>
              <a:gd name="connsiteX5" fmla="*/ 308309 w 603821"/>
              <a:gd name="connsiteY5" fmla="*/ 230240 h 2727037"/>
              <a:gd name="connsiteX6" fmla="*/ 369206 w 603821"/>
              <a:gd name="connsiteY6" fmla="*/ 0 h 2727037"/>
              <a:gd name="connsiteX0" fmla="*/ 369206 w 604127"/>
              <a:gd name="connsiteY0" fmla="*/ 0 h 2743673"/>
              <a:gd name="connsiteX1" fmla="*/ 593774 w 604127"/>
              <a:gd name="connsiteY1" fmla="*/ 984174 h 2743673"/>
              <a:gd name="connsiteX2" fmla="*/ 200228 w 604127"/>
              <a:gd name="connsiteY2" fmla="*/ 2743673 h 2743673"/>
              <a:gd name="connsiteX3" fmla="*/ 0 w 604127"/>
              <a:gd name="connsiteY3" fmla="*/ 2676208 h 2743673"/>
              <a:gd name="connsiteX4" fmla="*/ 382286 w 604127"/>
              <a:gd name="connsiteY4" fmla="*/ 1071238 h 2743673"/>
              <a:gd name="connsiteX5" fmla="*/ 308309 w 604127"/>
              <a:gd name="connsiteY5" fmla="*/ 230240 h 2743673"/>
              <a:gd name="connsiteX6" fmla="*/ 369206 w 604127"/>
              <a:gd name="connsiteY6" fmla="*/ 0 h 2743673"/>
              <a:gd name="connsiteX0" fmla="*/ 369206 w 603897"/>
              <a:gd name="connsiteY0" fmla="*/ 0 h 2731195"/>
              <a:gd name="connsiteX1" fmla="*/ 593774 w 603897"/>
              <a:gd name="connsiteY1" fmla="*/ 984174 h 2731195"/>
              <a:gd name="connsiteX2" fmla="*/ 203654 w 603897"/>
              <a:gd name="connsiteY2" fmla="*/ 2731195 h 2731195"/>
              <a:gd name="connsiteX3" fmla="*/ 0 w 603897"/>
              <a:gd name="connsiteY3" fmla="*/ 2676208 h 2731195"/>
              <a:gd name="connsiteX4" fmla="*/ 382286 w 603897"/>
              <a:gd name="connsiteY4" fmla="*/ 1071238 h 2731195"/>
              <a:gd name="connsiteX5" fmla="*/ 308309 w 603897"/>
              <a:gd name="connsiteY5" fmla="*/ 230240 h 2731195"/>
              <a:gd name="connsiteX6" fmla="*/ 369206 w 603897"/>
              <a:gd name="connsiteY6" fmla="*/ 0 h 2731195"/>
              <a:gd name="connsiteX0" fmla="*/ 369206 w 603897"/>
              <a:gd name="connsiteY0" fmla="*/ 0 h 2731195"/>
              <a:gd name="connsiteX1" fmla="*/ 593774 w 603897"/>
              <a:gd name="connsiteY1" fmla="*/ 984174 h 2731195"/>
              <a:gd name="connsiteX2" fmla="*/ 203654 w 603897"/>
              <a:gd name="connsiteY2" fmla="*/ 2731195 h 2731195"/>
              <a:gd name="connsiteX3" fmla="*/ 0 w 603897"/>
              <a:gd name="connsiteY3" fmla="*/ 2676208 h 2731195"/>
              <a:gd name="connsiteX4" fmla="*/ 382286 w 603897"/>
              <a:gd name="connsiteY4" fmla="*/ 1071238 h 2731195"/>
              <a:gd name="connsiteX5" fmla="*/ 308309 w 603897"/>
              <a:gd name="connsiteY5" fmla="*/ 230240 h 2731195"/>
              <a:gd name="connsiteX6" fmla="*/ 369206 w 603897"/>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82286 w 597721"/>
              <a:gd name="connsiteY4" fmla="*/ 1071238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3575 w 597721"/>
              <a:gd name="connsiteY4" fmla="*/ 100999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397950 w 597721"/>
              <a:gd name="connsiteY4" fmla="*/ 981609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0488 w 597721"/>
              <a:gd name="connsiteY4" fmla="*/ 825757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0488 w 597721"/>
              <a:gd name="connsiteY4" fmla="*/ 825757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7721"/>
              <a:gd name="connsiteY0" fmla="*/ 0 h 2731195"/>
              <a:gd name="connsiteX1" fmla="*/ 593774 w 597721"/>
              <a:gd name="connsiteY1" fmla="*/ 984174 h 2731195"/>
              <a:gd name="connsiteX2" fmla="*/ 203654 w 597721"/>
              <a:gd name="connsiteY2" fmla="*/ 2731195 h 2731195"/>
              <a:gd name="connsiteX3" fmla="*/ 0 w 597721"/>
              <a:gd name="connsiteY3" fmla="*/ 2676208 h 2731195"/>
              <a:gd name="connsiteX4" fmla="*/ 408807 w 597721"/>
              <a:gd name="connsiteY4" fmla="*/ 828041 h 2731195"/>
              <a:gd name="connsiteX5" fmla="*/ 308309 w 597721"/>
              <a:gd name="connsiteY5" fmla="*/ 230240 h 2731195"/>
              <a:gd name="connsiteX6" fmla="*/ 369206 w 597721"/>
              <a:gd name="connsiteY6" fmla="*/ 0 h 2731195"/>
              <a:gd name="connsiteX0" fmla="*/ 369206 w 596016"/>
              <a:gd name="connsiteY0" fmla="*/ 0 h 2731195"/>
              <a:gd name="connsiteX1" fmla="*/ 593774 w 596016"/>
              <a:gd name="connsiteY1" fmla="*/ 984174 h 2731195"/>
              <a:gd name="connsiteX2" fmla="*/ 203654 w 596016"/>
              <a:gd name="connsiteY2" fmla="*/ 2731195 h 2731195"/>
              <a:gd name="connsiteX3" fmla="*/ 0 w 596016"/>
              <a:gd name="connsiteY3" fmla="*/ 2676208 h 2731195"/>
              <a:gd name="connsiteX4" fmla="*/ 408807 w 596016"/>
              <a:gd name="connsiteY4" fmla="*/ 828041 h 2731195"/>
              <a:gd name="connsiteX5" fmla="*/ 308309 w 596016"/>
              <a:gd name="connsiteY5" fmla="*/ 230240 h 2731195"/>
              <a:gd name="connsiteX6" fmla="*/ 369206 w 596016"/>
              <a:gd name="connsiteY6" fmla="*/ 0 h 2731195"/>
              <a:gd name="connsiteX0" fmla="*/ 369206 w 595415"/>
              <a:gd name="connsiteY0" fmla="*/ 0 h 2731195"/>
              <a:gd name="connsiteX1" fmla="*/ 593774 w 595415"/>
              <a:gd name="connsiteY1" fmla="*/ 984174 h 2731195"/>
              <a:gd name="connsiteX2" fmla="*/ 203654 w 595415"/>
              <a:gd name="connsiteY2" fmla="*/ 2731195 h 2731195"/>
              <a:gd name="connsiteX3" fmla="*/ 0 w 595415"/>
              <a:gd name="connsiteY3" fmla="*/ 2676208 h 2731195"/>
              <a:gd name="connsiteX4" fmla="*/ 408807 w 595415"/>
              <a:gd name="connsiteY4" fmla="*/ 828041 h 2731195"/>
              <a:gd name="connsiteX5" fmla="*/ 308309 w 595415"/>
              <a:gd name="connsiteY5" fmla="*/ 230240 h 2731195"/>
              <a:gd name="connsiteX6" fmla="*/ 369206 w 595415"/>
              <a:gd name="connsiteY6" fmla="*/ 0 h 2731195"/>
              <a:gd name="connsiteX0" fmla="*/ 369206 w 525044"/>
              <a:gd name="connsiteY0" fmla="*/ 0 h 2785039"/>
              <a:gd name="connsiteX1" fmla="*/ 516065 w 525044"/>
              <a:gd name="connsiteY1" fmla="*/ 2647525 h 2785039"/>
              <a:gd name="connsiteX2" fmla="*/ 203654 w 525044"/>
              <a:gd name="connsiteY2" fmla="*/ 2731195 h 2785039"/>
              <a:gd name="connsiteX3" fmla="*/ 0 w 525044"/>
              <a:gd name="connsiteY3" fmla="*/ 2676208 h 2785039"/>
              <a:gd name="connsiteX4" fmla="*/ 408807 w 525044"/>
              <a:gd name="connsiteY4" fmla="*/ 828041 h 2785039"/>
              <a:gd name="connsiteX5" fmla="*/ 308309 w 525044"/>
              <a:gd name="connsiteY5" fmla="*/ 230240 h 2785039"/>
              <a:gd name="connsiteX6" fmla="*/ 369206 w 525044"/>
              <a:gd name="connsiteY6" fmla="*/ 0 h 2785039"/>
              <a:gd name="connsiteX0" fmla="*/ 369206 w 594494"/>
              <a:gd name="connsiteY0" fmla="*/ 0 h 2731195"/>
              <a:gd name="connsiteX1" fmla="*/ 516065 w 594494"/>
              <a:gd name="connsiteY1" fmla="*/ 2647525 h 2731195"/>
              <a:gd name="connsiteX2" fmla="*/ 203654 w 594494"/>
              <a:gd name="connsiteY2" fmla="*/ 2731195 h 2731195"/>
              <a:gd name="connsiteX3" fmla="*/ 0 w 594494"/>
              <a:gd name="connsiteY3" fmla="*/ 2676208 h 2731195"/>
              <a:gd name="connsiteX4" fmla="*/ 408807 w 594494"/>
              <a:gd name="connsiteY4" fmla="*/ 828041 h 2731195"/>
              <a:gd name="connsiteX5" fmla="*/ 308309 w 594494"/>
              <a:gd name="connsiteY5" fmla="*/ 230240 h 2731195"/>
              <a:gd name="connsiteX6" fmla="*/ 369206 w 594494"/>
              <a:gd name="connsiteY6" fmla="*/ 0 h 2731195"/>
              <a:gd name="connsiteX0" fmla="*/ 369206 w 537904"/>
              <a:gd name="connsiteY0" fmla="*/ 0 h 2731195"/>
              <a:gd name="connsiteX1" fmla="*/ 516065 w 537904"/>
              <a:gd name="connsiteY1" fmla="*/ 2647525 h 2731195"/>
              <a:gd name="connsiteX2" fmla="*/ 203654 w 537904"/>
              <a:gd name="connsiteY2" fmla="*/ 2731195 h 2731195"/>
              <a:gd name="connsiteX3" fmla="*/ 0 w 537904"/>
              <a:gd name="connsiteY3" fmla="*/ 2676208 h 2731195"/>
              <a:gd name="connsiteX4" fmla="*/ 408807 w 537904"/>
              <a:gd name="connsiteY4" fmla="*/ 828041 h 2731195"/>
              <a:gd name="connsiteX5" fmla="*/ 308309 w 537904"/>
              <a:gd name="connsiteY5" fmla="*/ 230240 h 2731195"/>
              <a:gd name="connsiteX6" fmla="*/ 369206 w 537904"/>
              <a:gd name="connsiteY6" fmla="*/ 0 h 2731195"/>
              <a:gd name="connsiteX0" fmla="*/ 369206 w 537904"/>
              <a:gd name="connsiteY0" fmla="*/ 0 h 2731195"/>
              <a:gd name="connsiteX1" fmla="*/ 516065 w 537904"/>
              <a:gd name="connsiteY1" fmla="*/ 2647525 h 2731195"/>
              <a:gd name="connsiteX2" fmla="*/ 203654 w 537904"/>
              <a:gd name="connsiteY2" fmla="*/ 2731195 h 2731195"/>
              <a:gd name="connsiteX3" fmla="*/ 0 w 537904"/>
              <a:gd name="connsiteY3" fmla="*/ 2676208 h 2731195"/>
              <a:gd name="connsiteX4" fmla="*/ 205854 w 537904"/>
              <a:gd name="connsiteY4" fmla="*/ 1982749 h 2731195"/>
              <a:gd name="connsiteX5" fmla="*/ 308309 w 537904"/>
              <a:gd name="connsiteY5" fmla="*/ 230240 h 2731195"/>
              <a:gd name="connsiteX6" fmla="*/ 369206 w 537904"/>
              <a:gd name="connsiteY6" fmla="*/ 0 h 2731195"/>
              <a:gd name="connsiteX0" fmla="*/ 369206 w 537904"/>
              <a:gd name="connsiteY0" fmla="*/ 0 h 2731195"/>
              <a:gd name="connsiteX1" fmla="*/ 516065 w 537904"/>
              <a:gd name="connsiteY1" fmla="*/ 2647525 h 2731195"/>
              <a:gd name="connsiteX2" fmla="*/ 203654 w 537904"/>
              <a:gd name="connsiteY2" fmla="*/ 2731195 h 2731195"/>
              <a:gd name="connsiteX3" fmla="*/ 0 w 537904"/>
              <a:gd name="connsiteY3" fmla="*/ 2676208 h 2731195"/>
              <a:gd name="connsiteX4" fmla="*/ 205854 w 537904"/>
              <a:gd name="connsiteY4" fmla="*/ 1982749 h 2731195"/>
              <a:gd name="connsiteX5" fmla="*/ 308309 w 537904"/>
              <a:gd name="connsiteY5" fmla="*/ 230240 h 2731195"/>
              <a:gd name="connsiteX6" fmla="*/ 369206 w 537904"/>
              <a:gd name="connsiteY6" fmla="*/ 0 h 2731195"/>
              <a:gd name="connsiteX0" fmla="*/ 369206 w 537904"/>
              <a:gd name="connsiteY0" fmla="*/ 0 h 2731195"/>
              <a:gd name="connsiteX1" fmla="*/ 516065 w 537904"/>
              <a:gd name="connsiteY1" fmla="*/ 2647525 h 2731195"/>
              <a:gd name="connsiteX2" fmla="*/ 203654 w 537904"/>
              <a:gd name="connsiteY2" fmla="*/ 2731195 h 2731195"/>
              <a:gd name="connsiteX3" fmla="*/ 0 w 537904"/>
              <a:gd name="connsiteY3" fmla="*/ 2676208 h 2731195"/>
              <a:gd name="connsiteX4" fmla="*/ 205854 w 537904"/>
              <a:gd name="connsiteY4" fmla="*/ 1982749 h 2731195"/>
              <a:gd name="connsiteX5" fmla="*/ 308309 w 537904"/>
              <a:gd name="connsiteY5" fmla="*/ 230240 h 2731195"/>
              <a:gd name="connsiteX6" fmla="*/ 369206 w 537904"/>
              <a:gd name="connsiteY6" fmla="*/ 0 h 2731195"/>
              <a:gd name="connsiteX0" fmla="*/ 702505 w 764550"/>
              <a:gd name="connsiteY0" fmla="*/ 1730045 h 2508669"/>
              <a:gd name="connsiteX1" fmla="*/ 516065 w 764550"/>
              <a:gd name="connsiteY1" fmla="*/ 2424999 h 2508669"/>
              <a:gd name="connsiteX2" fmla="*/ 203654 w 764550"/>
              <a:gd name="connsiteY2" fmla="*/ 2508669 h 2508669"/>
              <a:gd name="connsiteX3" fmla="*/ 0 w 764550"/>
              <a:gd name="connsiteY3" fmla="*/ 2453682 h 2508669"/>
              <a:gd name="connsiteX4" fmla="*/ 205854 w 764550"/>
              <a:gd name="connsiteY4" fmla="*/ 1760223 h 2508669"/>
              <a:gd name="connsiteX5" fmla="*/ 308309 w 764550"/>
              <a:gd name="connsiteY5" fmla="*/ 7714 h 2508669"/>
              <a:gd name="connsiteX6" fmla="*/ 702505 w 764550"/>
              <a:gd name="connsiteY6" fmla="*/ 1730045 h 2508669"/>
              <a:gd name="connsiteX0" fmla="*/ 702505 w 764550"/>
              <a:gd name="connsiteY0" fmla="*/ 1730591 h 2509215"/>
              <a:gd name="connsiteX1" fmla="*/ 516065 w 764550"/>
              <a:gd name="connsiteY1" fmla="*/ 2425545 h 2509215"/>
              <a:gd name="connsiteX2" fmla="*/ 203654 w 764550"/>
              <a:gd name="connsiteY2" fmla="*/ 2509215 h 2509215"/>
              <a:gd name="connsiteX3" fmla="*/ 0 w 764550"/>
              <a:gd name="connsiteY3" fmla="*/ 2454228 h 2509215"/>
              <a:gd name="connsiteX4" fmla="*/ 205854 w 764550"/>
              <a:gd name="connsiteY4" fmla="*/ 1760769 h 2509215"/>
              <a:gd name="connsiteX5" fmla="*/ 308309 w 764550"/>
              <a:gd name="connsiteY5" fmla="*/ 8260 h 2509215"/>
              <a:gd name="connsiteX6" fmla="*/ 702505 w 764550"/>
              <a:gd name="connsiteY6" fmla="*/ 1730591 h 2509215"/>
              <a:gd name="connsiteX0" fmla="*/ 702505 w 702505"/>
              <a:gd name="connsiteY0" fmla="*/ 1730591 h 2509215"/>
              <a:gd name="connsiteX1" fmla="*/ 516065 w 702505"/>
              <a:gd name="connsiteY1" fmla="*/ 2425545 h 2509215"/>
              <a:gd name="connsiteX2" fmla="*/ 203654 w 702505"/>
              <a:gd name="connsiteY2" fmla="*/ 2509215 h 2509215"/>
              <a:gd name="connsiteX3" fmla="*/ 0 w 702505"/>
              <a:gd name="connsiteY3" fmla="*/ 2454228 h 2509215"/>
              <a:gd name="connsiteX4" fmla="*/ 205854 w 702505"/>
              <a:gd name="connsiteY4" fmla="*/ 1760769 h 2509215"/>
              <a:gd name="connsiteX5" fmla="*/ 308309 w 702505"/>
              <a:gd name="connsiteY5" fmla="*/ 8260 h 2509215"/>
              <a:gd name="connsiteX6" fmla="*/ 702505 w 702505"/>
              <a:gd name="connsiteY6" fmla="*/ 1730591 h 2509215"/>
              <a:gd name="connsiteX0" fmla="*/ 799069 w 799069"/>
              <a:gd name="connsiteY0" fmla="*/ 1822434 h 2508841"/>
              <a:gd name="connsiteX1" fmla="*/ 516065 w 799069"/>
              <a:gd name="connsiteY1" fmla="*/ 2425171 h 2508841"/>
              <a:gd name="connsiteX2" fmla="*/ 203654 w 799069"/>
              <a:gd name="connsiteY2" fmla="*/ 2508841 h 2508841"/>
              <a:gd name="connsiteX3" fmla="*/ 0 w 799069"/>
              <a:gd name="connsiteY3" fmla="*/ 2453854 h 2508841"/>
              <a:gd name="connsiteX4" fmla="*/ 205854 w 799069"/>
              <a:gd name="connsiteY4" fmla="*/ 1760395 h 2508841"/>
              <a:gd name="connsiteX5" fmla="*/ 308309 w 799069"/>
              <a:gd name="connsiteY5" fmla="*/ 7886 h 2508841"/>
              <a:gd name="connsiteX6" fmla="*/ 799069 w 799069"/>
              <a:gd name="connsiteY6" fmla="*/ 1822434 h 2508841"/>
              <a:gd name="connsiteX0" fmla="*/ 799069 w 799069"/>
              <a:gd name="connsiteY0" fmla="*/ 1822453 h 2508860"/>
              <a:gd name="connsiteX1" fmla="*/ 516065 w 799069"/>
              <a:gd name="connsiteY1" fmla="*/ 2425190 h 2508860"/>
              <a:gd name="connsiteX2" fmla="*/ 203654 w 799069"/>
              <a:gd name="connsiteY2" fmla="*/ 2508860 h 2508860"/>
              <a:gd name="connsiteX3" fmla="*/ 0 w 799069"/>
              <a:gd name="connsiteY3" fmla="*/ 2453873 h 2508860"/>
              <a:gd name="connsiteX4" fmla="*/ 205854 w 799069"/>
              <a:gd name="connsiteY4" fmla="*/ 1760414 h 2508860"/>
              <a:gd name="connsiteX5" fmla="*/ 308309 w 799069"/>
              <a:gd name="connsiteY5" fmla="*/ 7905 h 2508860"/>
              <a:gd name="connsiteX6" fmla="*/ 799069 w 799069"/>
              <a:gd name="connsiteY6" fmla="*/ 1822453 h 2508860"/>
              <a:gd name="connsiteX0" fmla="*/ 799069 w 799069"/>
              <a:gd name="connsiteY0" fmla="*/ 1822453 h 2508860"/>
              <a:gd name="connsiteX1" fmla="*/ 516065 w 799069"/>
              <a:gd name="connsiteY1" fmla="*/ 2425190 h 2508860"/>
              <a:gd name="connsiteX2" fmla="*/ 203654 w 799069"/>
              <a:gd name="connsiteY2" fmla="*/ 2508860 h 2508860"/>
              <a:gd name="connsiteX3" fmla="*/ 0 w 799069"/>
              <a:gd name="connsiteY3" fmla="*/ 2453873 h 2508860"/>
              <a:gd name="connsiteX4" fmla="*/ 205854 w 799069"/>
              <a:gd name="connsiteY4" fmla="*/ 1760414 h 2508860"/>
              <a:gd name="connsiteX5" fmla="*/ 308309 w 799069"/>
              <a:gd name="connsiteY5" fmla="*/ 7905 h 2508860"/>
              <a:gd name="connsiteX6" fmla="*/ 799069 w 799069"/>
              <a:gd name="connsiteY6" fmla="*/ 1822453 h 2508860"/>
              <a:gd name="connsiteX0" fmla="*/ 799069 w 799069"/>
              <a:gd name="connsiteY0" fmla="*/ 99555 h 785962"/>
              <a:gd name="connsiteX1" fmla="*/ 516065 w 799069"/>
              <a:gd name="connsiteY1" fmla="*/ 702292 h 785962"/>
              <a:gd name="connsiteX2" fmla="*/ 203654 w 799069"/>
              <a:gd name="connsiteY2" fmla="*/ 785962 h 785962"/>
              <a:gd name="connsiteX3" fmla="*/ 0 w 799069"/>
              <a:gd name="connsiteY3" fmla="*/ 730975 h 785962"/>
              <a:gd name="connsiteX4" fmla="*/ 205854 w 799069"/>
              <a:gd name="connsiteY4" fmla="*/ 37516 h 785962"/>
              <a:gd name="connsiteX5" fmla="*/ 647685 w 799069"/>
              <a:gd name="connsiteY5" fmla="*/ 63320 h 785962"/>
              <a:gd name="connsiteX6" fmla="*/ 799069 w 799069"/>
              <a:gd name="connsiteY6" fmla="*/ 99555 h 785962"/>
              <a:gd name="connsiteX0" fmla="*/ 799069 w 799069"/>
              <a:gd name="connsiteY0" fmla="*/ 111264 h 797671"/>
              <a:gd name="connsiteX1" fmla="*/ 516065 w 799069"/>
              <a:gd name="connsiteY1" fmla="*/ 714001 h 797671"/>
              <a:gd name="connsiteX2" fmla="*/ 203654 w 799069"/>
              <a:gd name="connsiteY2" fmla="*/ 797671 h 797671"/>
              <a:gd name="connsiteX3" fmla="*/ 0 w 799069"/>
              <a:gd name="connsiteY3" fmla="*/ 742684 h 797671"/>
              <a:gd name="connsiteX4" fmla="*/ 205854 w 799069"/>
              <a:gd name="connsiteY4" fmla="*/ 49225 h 797671"/>
              <a:gd name="connsiteX5" fmla="*/ 625100 w 799069"/>
              <a:gd name="connsiteY5" fmla="*/ 59859 h 797671"/>
              <a:gd name="connsiteX6" fmla="*/ 799069 w 799069"/>
              <a:gd name="connsiteY6" fmla="*/ 111264 h 797671"/>
              <a:gd name="connsiteX0" fmla="*/ 799069 w 799069"/>
              <a:gd name="connsiteY0" fmla="*/ 87707 h 774114"/>
              <a:gd name="connsiteX1" fmla="*/ 516065 w 799069"/>
              <a:gd name="connsiteY1" fmla="*/ 690444 h 774114"/>
              <a:gd name="connsiteX2" fmla="*/ 203654 w 799069"/>
              <a:gd name="connsiteY2" fmla="*/ 774114 h 774114"/>
              <a:gd name="connsiteX3" fmla="*/ 0 w 799069"/>
              <a:gd name="connsiteY3" fmla="*/ 719127 h 774114"/>
              <a:gd name="connsiteX4" fmla="*/ 205854 w 799069"/>
              <a:gd name="connsiteY4" fmla="*/ 25668 h 774114"/>
              <a:gd name="connsiteX5" fmla="*/ 625100 w 799069"/>
              <a:gd name="connsiteY5" fmla="*/ 36302 h 774114"/>
              <a:gd name="connsiteX6" fmla="*/ 799069 w 799069"/>
              <a:gd name="connsiteY6" fmla="*/ 87707 h 774114"/>
              <a:gd name="connsiteX0" fmla="*/ 799069 w 799069"/>
              <a:gd name="connsiteY0" fmla="*/ 117107 h 803514"/>
              <a:gd name="connsiteX1" fmla="*/ 516065 w 799069"/>
              <a:gd name="connsiteY1" fmla="*/ 719844 h 803514"/>
              <a:gd name="connsiteX2" fmla="*/ 203654 w 799069"/>
              <a:gd name="connsiteY2" fmla="*/ 803514 h 803514"/>
              <a:gd name="connsiteX3" fmla="*/ 0 w 799069"/>
              <a:gd name="connsiteY3" fmla="*/ 748527 h 803514"/>
              <a:gd name="connsiteX4" fmla="*/ 205854 w 799069"/>
              <a:gd name="connsiteY4" fmla="*/ 55068 h 803514"/>
              <a:gd name="connsiteX5" fmla="*/ 625100 w 799069"/>
              <a:gd name="connsiteY5" fmla="*/ 65702 h 803514"/>
              <a:gd name="connsiteX6" fmla="*/ 799069 w 799069"/>
              <a:gd name="connsiteY6" fmla="*/ 117107 h 803514"/>
              <a:gd name="connsiteX0" fmla="*/ 799069 w 799069"/>
              <a:gd name="connsiteY0" fmla="*/ 51405 h 737812"/>
              <a:gd name="connsiteX1" fmla="*/ 516065 w 799069"/>
              <a:gd name="connsiteY1" fmla="*/ 654142 h 737812"/>
              <a:gd name="connsiteX2" fmla="*/ 203654 w 799069"/>
              <a:gd name="connsiteY2" fmla="*/ 737812 h 737812"/>
              <a:gd name="connsiteX3" fmla="*/ 0 w 799069"/>
              <a:gd name="connsiteY3" fmla="*/ 682825 h 737812"/>
              <a:gd name="connsiteX4" fmla="*/ 376714 w 799069"/>
              <a:gd name="connsiteY4" fmla="*/ 266068 h 737812"/>
              <a:gd name="connsiteX5" fmla="*/ 625100 w 799069"/>
              <a:gd name="connsiteY5" fmla="*/ 0 h 737812"/>
              <a:gd name="connsiteX6" fmla="*/ 799069 w 799069"/>
              <a:gd name="connsiteY6" fmla="*/ 51405 h 737812"/>
              <a:gd name="connsiteX0" fmla="*/ 799069 w 799069"/>
              <a:gd name="connsiteY0" fmla="*/ 51405 h 737812"/>
              <a:gd name="connsiteX1" fmla="*/ 516065 w 799069"/>
              <a:gd name="connsiteY1" fmla="*/ 654142 h 737812"/>
              <a:gd name="connsiteX2" fmla="*/ 203654 w 799069"/>
              <a:gd name="connsiteY2" fmla="*/ 737812 h 737812"/>
              <a:gd name="connsiteX3" fmla="*/ 0 w 799069"/>
              <a:gd name="connsiteY3" fmla="*/ 682825 h 737812"/>
              <a:gd name="connsiteX4" fmla="*/ 376714 w 799069"/>
              <a:gd name="connsiteY4" fmla="*/ 266068 h 737812"/>
              <a:gd name="connsiteX5" fmla="*/ 625100 w 799069"/>
              <a:gd name="connsiteY5" fmla="*/ 0 h 737812"/>
              <a:gd name="connsiteX6" fmla="*/ 799069 w 799069"/>
              <a:gd name="connsiteY6" fmla="*/ 51405 h 737812"/>
              <a:gd name="connsiteX0" fmla="*/ 799069 w 799069"/>
              <a:gd name="connsiteY0" fmla="*/ 51405 h 737812"/>
              <a:gd name="connsiteX1" fmla="*/ 516065 w 799069"/>
              <a:gd name="connsiteY1" fmla="*/ 654142 h 737812"/>
              <a:gd name="connsiteX2" fmla="*/ 203654 w 799069"/>
              <a:gd name="connsiteY2" fmla="*/ 737812 h 737812"/>
              <a:gd name="connsiteX3" fmla="*/ 0 w 799069"/>
              <a:gd name="connsiteY3" fmla="*/ 682825 h 737812"/>
              <a:gd name="connsiteX4" fmla="*/ 376714 w 799069"/>
              <a:gd name="connsiteY4" fmla="*/ 266068 h 737812"/>
              <a:gd name="connsiteX5" fmla="*/ 625100 w 799069"/>
              <a:gd name="connsiteY5" fmla="*/ 0 h 737812"/>
              <a:gd name="connsiteX6" fmla="*/ 799069 w 799069"/>
              <a:gd name="connsiteY6" fmla="*/ 51405 h 737812"/>
              <a:gd name="connsiteX0" fmla="*/ 799069 w 799069"/>
              <a:gd name="connsiteY0" fmla="*/ 50916 h 737323"/>
              <a:gd name="connsiteX1" fmla="*/ 516065 w 799069"/>
              <a:gd name="connsiteY1" fmla="*/ 653653 h 737323"/>
              <a:gd name="connsiteX2" fmla="*/ 203654 w 799069"/>
              <a:gd name="connsiteY2" fmla="*/ 737323 h 737323"/>
              <a:gd name="connsiteX3" fmla="*/ 0 w 799069"/>
              <a:gd name="connsiteY3" fmla="*/ 682336 h 737323"/>
              <a:gd name="connsiteX4" fmla="*/ 376714 w 799069"/>
              <a:gd name="connsiteY4" fmla="*/ 265579 h 737323"/>
              <a:gd name="connsiteX5" fmla="*/ 616055 w 799069"/>
              <a:gd name="connsiteY5" fmla="*/ 0 h 737323"/>
              <a:gd name="connsiteX6" fmla="*/ 799069 w 799069"/>
              <a:gd name="connsiteY6" fmla="*/ 50916 h 737323"/>
              <a:gd name="connsiteX0" fmla="*/ 799069 w 799069"/>
              <a:gd name="connsiteY0" fmla="*/ 50916 h 737323"/>
              <a:gd name="connsiteX1" fmla="*/ 516065 w 799069"/>
              <a:gd name="connsiteY1" fmla="*/ 653653 h 737323"/>
              <a:gd name="connsiteX2" fmla="*/ 203654 w 799069"/>
              <a:gd name="connsiteY2" fmla="*/ 737323 h 737323"/>
              <a:gd name="connsiteX3" fmla="*/ 0 w 799069"/>
              <a:gd name="connsiteY3" fmla="*/ 682336 h 737323"/>
              <a:gd name="connsiteX4" fmla="*/ 376714 w 799069"/>
              <a:gd name="connsiteY4" fmla="*/ 265579 h 737323"/>
              <a:gd name="connsiteX5" fmla="*/ 616055 w 799069"/>
              <a:gd name="connsiteY5" fmla="*/ 0 h 737323"/>
              <a:gd name="connsiteX6" fmla="*/ 799069 w 799069"/>
              <a:gd name="connsiteY6" fmla="*/ 50916 h 737323"/>
              <a:gd name="connsiteX0" fmla="*/ 790023 w 790023"/>
              <a:gd name="connsiteY0" fmla="*/ 50916 h 737323"/>
              <a:gd name="connsiteX1" fmla="*/ 507019 w 790023"/>
              <a:gd name="connsiteY1" fmla="*/ 653653 h 737323"/>
              <a:gd name="connsiteX2" fmla="*/ 194608 w 790023"/>
              <a:gd name="connsiteY2" fmla="*/ 737323 h 737323"/>
              <a:gd name="connsiteX3" fmla="*/ 0 w 790023"/>
              <a:gd name="connsiteY3" fmla="*/ 681847 h 737323"/>
              <a:gd name="connsiteX4" fmla="*/ 367668 w 790023"/>
              <a:gd name="connsiteY4" fmla="*/ 265579 h 737323"/>
              <a:gd name="connsiteX5" fmla="*/ 607009 w 790023"/>
              <a:gd name="connsiteY5" fmla="*/ 0 h 737323"/>
              <a:gd name="connsiteX6" fmla="*/ 790023 w 790023"/>
              <a:gd name="connsiteY6" fmla="*/ 50916 h 737323"/>
              <a:gd name="connsiteX0" fmla="*/ 790023 w 790023"/>
              <a:gd name="connsiteY0" fmla="*/ 50916 h 737323"/>
              <a:gd name="connsiteX1" fmla="*/ 507019 w 790023"/>
              <a:gd name="connsiteY1" fmla="*/ 653653 h 737323"/>
              <a:gd name="connsiteX2" fmla="*/ 194608 w 790023"/>
              <a:gd name="connsiteY2" fmla="*/ 737323 h 737323"/>
              <a:gd name="connsiteX3" fmla="*/ 0 w 790023"/>
              <a:gd name="connsiteY3" fmla="*/ 681847 h 737323"/>
              <a:gd name="connsiteX4" fmla="*/ 367668 w 790023"/>
              <a:gd name="connsiteY4" fmla="*/ 265579 h 737323"/>
              <a:gd name="connsiteX5" fmla="*/ 607009 w 790023"/>
              <a:gd name="connsiteY5" fmla="*/ 0 h 737323"/>
              <a:gd name="connsiteX6" fmla="*/ 790023 w 790023"/>
              <a:gd name="connsiteY6" fmla="*/ 50916 h 737323"/>
              <a:gd name="connsiteX0" fmla="*/ 792094 w 792094"/>
              <a:gd name="connsiteY0" fmla="*/ 50916 h 737323"/>
              <a:gd name="connsiteX1" fmla="*/ 509090 w 792094"/>
              <a:gd name="connsiteY1" fmla="*/ 653653 h 737323"/>
              <a:gd name="connsiteX2" fmla="*/ 196679 w 792094"/>
              <a:gd name="connsiteY2" fmla="*/ 737323 h 737323"/>
              <a:gd name="connsiteX3" fmla="*/ 0 w 792094"/>
              <a:gd name="connsiteY3" fmla="*/ 681276 h 737323"/>
              <a:gd name="connsiteX4" fmla="*/ 369739 w 792094"/>
              <a:gd name="connsiteY4" fmla="*/ 265579 h 737323"/>
              <a:gd name="connsiteX5" fmla="*/ 609080 w 792094"/>
              <a:gd name="connsiteY5" fmla="*/ 0 h 737323"/>
              <a:gd name="connsiteX6" fmla="*/ 792094 w 792094"/>
              <a:gd name="connsiteY6" fmla="*/ 50916 h 737323"/>
              <a:gd name="connsiteX0" fmla="*/ 794896 w 794896"/>
              <a:gd name="connsiteY0" fmla="*/ 50916 h 737323"/>
              <a:gd name="connsiteX1" fmla="*/ 511892 w 794896"/>
              <a:gd name="connsiteY1" fmla="*/ 653653 h 737323"/>
              <a:gd name="connsiteX2" fmla="*/ 199481 w 794896"/>
              <a:gd name="connsiteY2" fmla="*/ 737323 h 737323"/>
              <a:gd name="connsiteX3" fmla="*/ 0 w 794896"/>
              <a:gd name="connsiteY3" fmla="*/ 667085 h 737323"/>
              <a:gd name="connsiteX4" fmla="*/ 372541 w 794896"/>
              <a:gd name="connsiteY4" fmla="*/ 265579 h 737323"/>
              <a:gd name="connsiteX5" fmla="*/ 611882 w 794896"/>
              <a:gd name="connsiteY5" fmla="*/ 0 h 737323"/>
              <a:gd name="connsiteX6" fmla="*/ 794896 w 794896"/>
              <a:gd name="connsiteY6" fmla="*/ 50916 h 737323"/>
              <a:gd name="connsiteX0" fmla="*/ 794896 w 794896"/>
              <a:gd name="connsiteY0" fmla="*/ 50916 h 714812"/>
              <a:gd name="connsiteX1" fmla="*/ 511892 w 794896"/>
              <a:gd name="connsiteY1" fmla="*/ 653653 h 714812"/>
              <a:gd name="connsiteX2" fmla="*/ 198954 w 794896"/>
              <a:gd name="connsiteY2" fmla="*/ 714812 h 714812"/>
              <a:gd name="connsiteX3" fmla="*/ 0 w 794896"/>
              <a:gd name="connsiteY3" fmla="*/ 667085 h 714812"/>
              <a:gd name="connsiteX4" fmla="*/ 372541 w 794896"/>
              <a:gd name="connsiteY4" fmla="*/ 265579 h 714812"/>
              <a:gd name="connsiteX5" fmla="*/ 611882 w 794896"/>
              <a:gd name="connsiteY5" fmla="*/ 0 h 714812"/>
              <a:gd name="connsiteX6" fmla="*/ 794896 w 794896"/>
              <a:gd name="connsiteY6" fmla="*/ 50916 h 714812"/>
              <a:gd name="connsiteX0" fmla="*/ 794896 w 794896"/>
              <a:gd name="connsiteY0" fmla="*/ 50916 h 719542"/>
              <a:gd name="connsiteX1" fmla="*/ 511892 w 794896"/>
              <a:gd name="connsiteY1" fmla="*/ 653653 h 719542"/>
              <a:gd name="connsiteX2" fmla="*/ 199889 w 794896"/>
              <a:gd name="connsiteY2" fmla="*/ 719542 h 719542"/>
              <a:gd name="connsiteX3" fmla="*/ 0 w 794896"/>
              <a:gd name="connsiteY3" fmla="*/ 667085 h 719542"/>
              <a:gd name="connsiteX4" fmla="*/ 372541 w 794896"/>
              <a:gd name="connsiteY4" fmla="*/ 265579 h 719542"/>
              <a:gd name="connsiteX5" fmla="*/ 611882 w 794896"/>
              <a:gd name="connsiteY5" fmla="*/ 0 h 719542"/>
              <a:gd name="connsiteX6" fmla="*/ 794896 w 794896"/>
              <a:gd name="connsiteY6" fmla="*/ 50916 h 719542"/>
              <a:gd name="connsiteX0" fmla="*/ 794896 w 794896"/>
              <a:gd name="connsiteY0" fmla="*/ 50916 h 719542"/>
              <a:gd name="connsiteX1" fmla="*/ 511892 w 794896"/>
              <a:gd name="connsiteY1" fmla="*/ 653653 h 719542"/>
              <a:gd name="connsiteX2" fmla="*/ 199889 w 794896"/>
              <a:gd name="connsiteY2" fmla="*/ 719542 h 719542"/>
              <a:gd name="connsiteX3" fmla="*/ 0 w 794896"/>
              <a:gd name="connsiteY3" fmla="*/ 667085 h 719542"/>
              <a:gd name="connsiteX4" fmla="*/ 372541 w 794896"/>
              <a:gd name="connsiteY4" fmla="*/ 265579 h 719542"/>
              <a:gd name="connsiteX5" fmla="*/ 611882 w 794896"/>
              <a:gd name="connsiteY5" fmla="*/ 0 h 719542"/>
              <a:gd name="connsiteX6" fmla="*/ 794896 w 794896"/>
              <a:gd name="connsiteY6" fmla="*/ 50916 h 719542"/>
              <a:gd name="connsiteX0" fmla="*/ 794896 w 794896"/>
              <a:gd name="connsiteY0" fmla="*/ 50916 h 719542"/>
              <a:gd name="connsiteX1" fmla="*/ 531078 w 794896"/>
              <a:gd name="connsiteY1" fmla="*/ 453190 h 719542"/>
              <a:gd name="connsiteX2" fmla="*/ 199889 w 794896"/>
              <a:gd name="connsiteY2" fmla="*/ 719542 h 719542"/>
              <a:gd name="connsiteX3" fmla="*/ 0 w 794896"/>
              <a:gd name="connsiteY3" fmla="*/ 667085 h 719542"/>
              <a:gd name="connsiteX4" fmla="*/ 372541 w 794896"/>
              <a:gd name="connsiteY4" fmla="*/ 265579 h 719542"/>
              <a:gd name="connsiteX5" fmla="*/ 611882 w 794896"/>
              <a:gd name="connsiteY5" fmla="*/ 0 h 719542"/>
              <a:gd name="connsiteX6" fmla="*/ 794896 w 794896"/>
              <a:gd name="connsiteY6" fmla="*/ 50916 h 719542"/>
              <a:gd name="connsiteX0" fmla="*/ 794896 w 794896"/>
              <a:gd name="connsiteY0" fmla="*/ 50916 h 719542"/>
              <a:gd name="connsiteX1" fmla="*/ 531078 w 794896"/>
              <a:gd name="connsiteY1" fmla="*/ 453190 h 719542"/>
              <a:gd name="connsiteX2" fmla="*/ 199889 w 794896"/>
              <a:gd name="connsiteY2" fmla="*/ 719542 h 719542"/>
              <a:gd name="connsiteX3" fmla="*/ 0 w 794896"/>
              <a:gd name="connsiteY3" fmla="*/ 667085 h 719542"/>
              <a:gd name="connsiteX4" fmla="*/ 348982 w 794896"/>
              <a:gd name="connsiteY4" fmla="*/ 270267 h 719542"/>
              <a:gd name="connsiteX5" fmla="*/ 611882 w 794896"/>
              <a:gd name="connsiteY5" fmla="*/ 0 h 719542"/>
              <a:gd name="connsiteX6" fmla="*/ 794896 w 794896"/>
              <a:gd name="connsiteY6" fmla="*/ 50916 h 719542"/>
              <a:gd name="connsiteX0" fmla="*/ 803184 w 803184"/>
              <a:gd name="connsiteY0" fmla="*/ 53200 h 719542"/>
              <a:gd name="connsiteX1" fmla="*/ 531078 w 803184"/>
              <a:gd name="connsiteY1" fmla="*/ 453190 h 719542"/>
              <a:gd name="connsiteX2" fmla="*/ 199889 w 803184"/>
              <a:gd name="connsiteY2" fmla="*/ 719542 h 719542"/>
              <a:gd name="connsiteX3" fmla="*/ 0 w 803184"/>
              <a:gd name="connsiteY3" fmla="*/ 667085 h 719542"/>
              <a:gd name="connsiteX4" fmla="*/ 348982 w 803184"/>
              <a:gd name="connsiteY4" fmla="*/ 270267 h 719542"/>
              <a:gd name="connsiteX5" fmla="*/ 611882 w 803184"/>
              <a:gd name="connsiteY5" fmla="*/ 0 h 719542"/>
              <a:gd name="connsiteX6" fmla="*/ 803184 w 803184"/>
              <a:gd name="connsiteY6" fmla="*/ 53200 h 719542"/>
              <a:gd name="connsiteX0" fmla="*/ 803184 w 803184"/>
              <a:gd name="connsiteY0" fmla="*/ 66249 h 732591"/>
              <a:gd name="connsiteX1" fmla="*/ 531078 w 803184"/>
              <a:gd name="connsiteY1" fmla="*/ 466239 h 732591"/>
              <a:gd name="connsiteX2" fmla="*/ 199889 w 803184"/>
              <a:gd name="connsiteY2" fmla="*/ 732591 h 732591"/>
              <a:gd name="connsiteX3" fmla="*/ 0 w 803184"/>
              <a:gd name="connsiteY3" fmla="*/ 680134 h 732591"/>
              <a:gd name="connsiteX4" fmla="*/ 348982 w 803184"/>
              <a:gd name="connsiteY4" fmla="*/ 283316 h 732591"/>
              <a:gd name="connsiteX5" fmla="*/ 613223 w 803184"/>
              <a:gd name="connsiteY5" fmla="*/ 0 h 732591"/>
              <a:gd name="connsiteX6" fmla="*/ 803184 w 803184"/>
              <a:gd name="connsiteY6" fmla="*/ 66249 h 732591"/>
              <a:gd name="connsiteX0" fmla="*/ 807735 w 807735"/>
              <a:gd name="connsiteY0" fmla="*/ 49612 h 732591"/>
              <a:gd name="connsiteX1" fmla="*/ 531078 w 807735"/>
              <a:gd name="connsiteY1" fmla="*/ 466239 h 732591"/>
              <a:gd name="connsiteX2" fmla="*/ 199889 w 807735"/>
              <a:gd name="connsiteY2" fmla="*/ 732591 h 732591"/>
              <a:gd name="connsiteX3" fmla="*/ 0 w 807735"/>
              <a:gd name="connsiteY3" fmla="*/ 680134 h 732591"/>
              <a:gd name="connsiteX4" fmla="*/ 348982 w 807735"/>
              <a:gd name="connsiteY4" fmla="*/ 283316 h 732591"/>
              <a:gd name="connsiteX5" fmla="*/ 613223 w 807735"/>
              <a:gd name="connsiteY5" fmla="*/ 0 h 732591"/>
              <a:gd name="connsiteX6" fmla="*/ 807735 w 807735"/>
              <a:gd name="connsiteY6" fmla="*/ 49612 h 732591"/>
              <a:gd name="connsiteX0" fmla="*/ 816022 w 816022"/>
              <a:gd name="connsiteY0" fmla="*/ 51897 h 732591"/>
              <a:gd name="connsiteX1" fmla="*/ 531078 w 816022"/>
              <a:gd name="connsiteY1" fmla="*/ 466239 h 732591"/>
              <a:gd name="connsiteX2" fmla="*/ 199889 w 816022"/>
              <a:gd name="connsiteY2" fmla="*/ 732591 h 732591"/>
              <a:gd name="connsiteX3" fmla="*/ 0 w 816022"/>
              <a:gd name="connsiteY3" fmla="*/ 680134 h 732591"/>
              <a:gd name="connsiteX4" fmla="*/ 348982 w 816022"/>
              <a:gd name="connsiteY4" fmla="*/ 283316 h 732591"/>
              <a:gd name="connsiteX5" fmla="*/ 613223 w 816022"/>
              <a:gd name="connsiteY5" fmla="*/ 0 h 732591"/>
              <a:gd name="connsiteX6" fmla="*/ 816022 w 816022"/>
              <a:gd name="connsiteY6" fmla="*/ 51897 h 732591"/>
              <a:gd name="connsiteX0" fmla="*/ 813381 w 813381"/>
              <a:gd name="connsiteY0" fmla="*/ 53406 h 732591"/>
              <a:gd name="connsiteX1" fmla="*/ 531078 w 813381"/>
              <a:gd name="connsiteY1" fmla="*/ 466239 h 732591"/>
              <a:gd name="connsiteX2" fmla="*/ 199889 w 813381"/>
              <a:gd name="connsiteY2" fmla="*/ 732591 h 732591"/>
              <a:gd name="connsiteX3" fmla="*/ 0 w 813381"/>
              <a:gd name="connsiteY3" fmla="*/ 680134 h 732591"/>
              <a:gd name="connsiteX4" fmla="*/ 348982 w 813381"/>
              <a:gd name="connsiteY4" fmla="*/ 283316 h 732591"/>
              <a:gd name="connsiteX5" fmla="*/ 613223 w 813381"/>
              <a:gd name="connsiteY5" fmla="*/ 0 h 732591"/>
              <a:gd name="connsiteX6" fmla="*/ 813381 w 813381"/>
              <a:gd name="connsiteY6" fmla="*/ 53406 h 732591"/>
              <a:gd name="connsiteX0" fmla="*/ 817524 w 817524"/>
              <a:gd name="connsiteY0" fmla="*/ 54548 h 732591"/>
              <a:gd name="connsiteX1" fmla="*/ 531078 w 817524"/>
              <a:gd name="connsiteY1" fmla="*/ 466239 h 732591"/>
              <a:gd name="connsiteX2" fmla="*/ 199889 w 817524"/>
              <a:gd name="connsiteY2" fmla="*/ 732591 h 732591"/>
              <a:gd name="connsiteX3" fmla="*/ 0 w 817524"/>
              <a:gd name="connsiteY3" fmla="*/ 680134 h 732591"/>
              <a:gd name="connsiteX4" fmla="*/ 348982 w 817524"/>
              <a:gd name="connsiteY4" fmla="*/ 283316 h 732591"/>
              <a:gd name="connsiteX5" fmla="*/ 613223 w 817524"/>
              <a:gd name="connsiteY5" fmla="*/ 0 h 732591"/>
              <a:gd name="connsiteX6" fmla="*/ 817524 w 817524"/>
              <a:gd name="connsiteY6" fmla="*/ 54548 h 732591"/>
              <a:gd name="connsiteX0" fmla="*/ 813380 w 813380"/>
              <a:gd name="connsiteY0" fmla="*/ 53406 h 732591"/>
              <a:gd name="connsiteX1" fmla="*/ 531078 w 813380"/>
              <a:gd name="connsiteY1" fmla="*/ 466239 h 732591"/>
              <a:gd name="connsiteX2" fmla="*/ 199889 w 813380"/>
              <a:gd name="connsiteY2" fmla="*/ 732591 h 732591"/>
              <a:gd name="connsiteX3" fmla="*/ 0 w 813380"/>
              <a:gd name="connsiteY3" fmla="*/ 680134 h 732591"/>
              <a:gd name="connsiteX4" fmla="*/ 348982 w 813380"/>
              <a:gd name="connsiteY4" fmla="*/ 283316 h 732591"/>
              <a:gd name="connsiteX5" fmla="*/ 613223 w 813380"/>
              <a:gd name="connsiteY5" fmla="*/ 0 h 732591"/>
              <a:gd name="connsiteX6" fmla="*/ 813380 w 813380"/>
              <a:gd name="connsiteY6" fmla="*/ 53406 h 732591"/>
              <a:gd name="connsiteX0" fmla="*/ 813380 w 813380"/>
              <a:gd name="connsiteY0" fmla="*/ 53406 h 732591"/>
              <a:gd name="connsiteX1" fmla="*/ 526569 w 813380"/>
              <a:gd name="connsiteY1" fmla="*/ 458287 h 732591"/>
              <a:gd name="connsiteX2" fmla="*/ 199889 w 813380"/>
              <a:gd name="connsiteY2" fmla="*/ 732591 h 732591"/>
              <a:gd name="connsiteX3" fmla="*/ 0 w 813380"/>
              <a:gd name="connsiteY3" fmla="*/ 680134 h 732591"/>
              <a:gd name="connsiteX4" fmla="*/ 348982 w 813380"/>
              <a:gd name="connsiteY4" fmla="*/ 283316 h 732591"/>
              <a:gd name="connsiteX5" fmla="*/ 613223 w 813380"/>
              <a:gd name="connsiteY5" fmla="*/ 0 h 732591"/>
              <a:gd name="connsiteX6" fmla="*/ 813380 w 813380"/>
              <a:gd name="connsiteY6" fmla="*/ 53406 h 732591"/>
              <a:gd name="connsiteX0" fmla="*/ 807166 w 807166"/>
              <a:gd name="connsiteY0" fmla="*/ 53406 h 732591"/>
              <a:gd name="connsiteX1" fmla="*/ 520355 w 807166"/>
              <a:gd name="connsiteY1" fmla="*/ 458287 h 732591"/>
              <a:gd name="connsiteX2" fmla="*/ 193675 w 807166"/>
              <a:gd name="connsiteY2" fmla="*/ 732591 h 732591"/>
              <a:gd name="connsiteX3" fmla="*/ 0 w 807166"/>
              <a:gd name="connsiteY3" fmla="*/ 681847 h 732591"/>
              <a:gd name="connsiteX4" fmla="*/ 342768 w 807166"/>
              <a:gd name="connsiteY4" fmla="*/ 283316 h 732591"/>
              <a:gd name="connsiteX5" fmla="*/ 607009 w 807166"/>
              <a:gd name="connsiteY5" fmla="*/ 0 h 732591"/>
              <a:gd name="connsiteX6" fmla="*/ 807166 w 807166"/>
              <a:gd name="connsiteY6" fmla="*/ 53406 h 732591"/>
              <a:gd name="connsiteX0" fmla="*/ 811309 w 811309"/>
              <a:gd name="connsiteY0" fmla="*/ 53406 h 732591"/>
              <a:gd name="connsiteX1" fmla="*/ 524498 w 811309"/>
              <a:gd name="connsiteY1" fmla="*/ 458287 h 732591"/>
              <a:gd name="connsiteX2" fmla="*/ 197818 w 811309"/>
              <a:gd name="connsiteY2" fmla="*/ 732591 h 732591"/>
              <a:gd name="connsiteX3" fmla="*/ 0 w 811309"/>
              <a:gd name="connsiteY3" fmla="*/ 680705 h 732591"/>
              <a:gd name="connsiteX4" fmla="*/ 346911 w 811309"/>
              <a:gd name="connsiteY4" fmla="*/ 283316 h 732591"/>
              <a:gd name="connsiteX5" fmla="*/ 611152 w 811309"/>
              <a:gd name="connsiteY5" fmla="*/ 0 h 732591"/>
              <a:gd name="connsiteX6" fmla="*/ 811309 w 811309"/>
              <a:gd name="connsiteY6" fmla="*/ 53406 h 732591"/>
              <a:gd name="connsiteX0" fmla="*/ 811309 w 811309"/>
              <a:gd name="connsiteY0" fmla="*/ 53406 h 732591"/>
              <a:gd name="connsiteX1" fmla="*/ 524498 w 811309"/>
              <a:gd name="connsiteY1" fmla="*/ 458287 h 732591"/>
              <a:gd name="connsiteX2" fmla="*/ 197818 w 811309"/>
              <a:gd name="connsiteY2" fmla="*/ 732591 h 732591"/>
              <a:gd name="connsiteX3" fmla="*/ 0 w 811309"/>
              <a:gd name="connsiteY3" fmla="*/ 680705 h 732591"/>
              <a:gd name="connsiteX4" fmla="*/ 346911 w 811309"/>
              <a:gd name="connsiteY4" fmla="*/ 283316 h 732591"/>
              <a:gd name="connsiteX5" fmla="*/ 611152 w 811309"/>
              <a:gd name="connsiteY5" fmla="*/ 0 h 732591"/>
              <a:gd name="connsiteX6" fmla="*/ 811309 w 811309"/>
              <a:gd name="connsiteY6" fmla="*/ 53406 h 732591"/>
              <a:gd name="connsiteX0" fmla="*/ 811309 w 811309"/>
              <a:gd name="connsiteY0" fmla="*/ 53406 h 732591"/>
              <a:gd name="connsiteX1" fmla="*/ 524498 w 811309"/>
              <a:gd name="connsiteY1" fmla="*/ 458287 h 732591"/>
              <a:gd name="connsiteX2" fmla="*/ 197818 w 811309"/>
              <a:gd name="connsiteY2" fmla="*/ 732591 h 732591"/>
              <a:gd name="connsiteX3" fmla="*/ 0 w 811309"/>
              <a:gd name="connsiteY3" fmla="*/ 680705 h 732591"/>
              <a:gd name="connsiteX4" fmla="*/ 346911 w 811309"/>
              <a:gd name="connsiteY4" fmla="*/ 283316 h 732591"/>
              <a:gd name="connsiteX5" fmla="*/ 611152 w 811309"/>
              <a:gd name="connsiteY5" fmla="*/ 0 h 732591"/>
              <a:gd name="connsiteX6" fmla="*/ 811309 w 811309"/>
              <a:gd name="connsiteY6" fmla="*/ 53406 h 732591"/>
              <a:gd name="connsiteX0" fmla="*/ 810740 w 810740"/>
              <a:gd name="connsiteY0" fmla="*/ 53406 h 732591"/>
              <a:gd name="connsiteX1" fmla="*/ 523929 w 810740"/>
              <a:gd name="connsiteY1" fmla="*/ 458287 h 732591"/>
              <a:gd name="connsiteX2" fmla="*/ 197249 w 810740"/>
              <a:gd name="connsiteY2" fmla="*/ 732591 h 732591"/>
              <a:gd name="connsiteX3" fmla="*/ 0 w 810740"/>
              <a:gd name="connsiteY3" fmla="*/ 678625 h 732591"/>
              <a:gd name="connsiteX4" fmla="*/ 346342 w 810740"/>
              <a:gd name="connsiteY4" fmla="*/ 283316 h 732591"/>
              <a:gd name="connsiteX5" fmla="*/ 610583 w 810740"/>
              <a:gd name="connsiteY5" fmla="*/ 0 h 732591"/>
              <a:gd name="connsiteX6" fmla="*/ 810740 w 810740"/>
              <a:gd name="connsiteY6" fmla="*/ 53406 h 732591"/>
              <a:gd name="connsiteX0" fmla="*/ 810740 w 810740"/>
              <a:gd name="connsiteY0" fmla="*/ 53406 h 732591"/>
              <a:gd name="connsiteX1" fmla="*/ 523929 w 810740"/>
              <a:gd name="connsiteY1" fmla="*/ 458287 h 732591"/>
              <a:gd name="connsiteX2" fmla="*/ 197249 w 810740"/>
              <a:gd name="connsiteY2" fmla="*/ 732591 h 732591"/>
              <a:gd name="connsiteX3" fmla="*/ 0 w 810740"/>
              <a:gd name="connsiteY3" fmla="*/ 678625 h 732591"/>
              <a:gd name="connsiteX4" fmla="*/ 346342 w 810740"/>
              <a:gd name="connsiteY4" fmla="*/ 283316 h 732591"/>
              <a:gd name="connsiteX5" fmla="*/ 610583 w 810740"/>
              <a:gd name="connsiteY5" fmla="*/ 0 h 732591"/>
              <a:gd name="connsiteX6" fmla="*/ 810740 w 810740"/>
              <a:gd name="connsiteY6" fmla="*/ 53406 h 732591"/>
              <a:gd name="connsiteX0" fmla="*/ 810740 w 810740"/>
              <a:gd name="connsiteY0" fmla="*/ 53406 h 732591"/>
              <a:gd name="connsiteX1" fmla="*/ 504554 w 810740"/>
              <a:gd name="connsiteY1" fmla="*/ 439528 h 732591"/>
              <a:gd name="connsiteX2" fmla="*/ 197249 w 810740"/>
              <a:gd name="connsiteY2" fmla="*/ 732591 h 732591"/>
              <a:gd name="connsiteX3" fmla="*/ 0 w 810740"/>
              <a:gd name="connsiteY3" fmla="*/ 678625 h 732591"/>
              <a:gd name="connsiteX4" fmla="*/ 346342 w 810740"/>
              <a:gd name="connsiteY4" fmla="*/ 283316 h 732591"/>
              <a:gd name="connsiteX5" fmla="*/ 610583 w 810740"/>
              <a:gd name="connsiteY5" fmla="*/ 0 h 732591"/>
              <a:gd name="connsiteX6" fmla="*/ 810740 w 810740"/>
              <a:gd name="connsiteY6" fmla="*/ 53406 h 732591"/>
              <a:gd name="connsiteX0" fmla="*/ 810740 w 810740"/>
              <a:gd name="connsiteY0" fmla="*/ 53406 h 732591"/>
              <a:gd name="connsiteX1" fmla="*/ 504554 w 810740"/>
              <a:gd name="connsiteY1" fmla="*/ 439528 h 732591"/>
              <a:gd name="connsiteX2" fmla="*/ 197249 w 810740"/>
              <a:gd name="connsiteY2" fmla="*/ 732591 h 732591"/>
              <a:gd name="connsiteX3" fmla="*/ 0 w 810740"/>
              <a:gd name="connsiteY3" fmla="*/ 678625 h 732591"/>
              <a:gd name="connsiteX4" fmla="*/ 346342 w 810740"/>
              <a:gd name="connsiteY4" fmla="*/ 283316 h 732591"/>
              <a:gd name="connsiteX5" fmla="*/ 610583 w 810740"/>
              <a:gd name="connsiteY5" fmla="*/ 0 h 732591"/>
              <a:gd name="connsiteX6" fmla="*/ 810740 w 810740"/>
              <a:gd name="connsiteY6" fmla="*/ 53406 h 732591"/>
              <a:gd name="connsiteX0" fmla="*/ 806596 w 806596"/>
              <a:gd name="connsiteY0" fmla="*/ 52264 h 732591"/>
              <a:gd name="connsiteX1" fmla="*/ 504554 w 806596"/>
              <a:gd name="connsiteY1" fmla="*/ 439528 h 732591"/>
              <a:gd name="connsiteX2" fmla="*/ 197249 w 806596"/>
              <a:gd name="connsiteY2" fmla="*/ 732591 h 732591"/>
              <a:gd name="connsiteX3" fmla="*/ 0 w 806596"/>
              <a:gd name="connsiteY3" fmla="*/ 678625 h 732591"/>
              <a:gd name="connsiteX4" fmla="*/ 346342 w 806596"/>
              <a:gd name="connsiteY4" fmla="*/ 283316 h 732591"/>
              <a:gd name="connsiteX5" fmla="*/ 610583 w 806596"/>
              <a:gd name="connsiteY5" fmla="*/ 0 h 732591"/>
              <a:gd name="connsiteX6" fmla="*/ 806596 w 806596"/>
              <a:gd name="connsiteY6" fmla="*/ 52264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46342 w 811308"/>
              <a:gd name="connsiteY4" fmla="*/ 283316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3189 w 811308"/>
              <a:gd name="connsiteY4" fmla="*/ 270225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3189 w 811308"/>
              <a:gd name="connsiteY4" fmla="*/ 270225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3189 w 811308"/>
              <a:gd name="connsiteY4" fmla="*/ 270225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504554 w 811308"/>
              <a:gd name="connsiteY1" fmla="*/ 439528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7523 w 817523"/>
              <a:gd name="connsiteY0" fmla="*/ 51326 h 732591"/>
              <a:gd name="connsiteX1" fmla="*/ 479737 w 817523"/>
              <a:gd name="connsiteY1" fmla="*/ 406374 h 732591"/>
              <a:gd name="connsiteX2" fmla="*/ 203464 w 817523"/>
              <a:gd name="connsiteY2" fmla="*/ 732591 h 732591"/>
              <a:gd name="connsiteX3" fmla="*/ 0 w 817523"/>
              <a:gd name="connsiteY3" fmla="*/ 676912 h 732591"/>
              <a:gd name="connsiteX4" fmla="*/ 332451 w 817523"/>
              <a:gd name="connsiteY4" fmla="*/ 250937 h 732591"/>
              <a:gd name="connsiteX5" fmla="*/ 616798 w 817523"/>
              <a:gd name="connsiteY5" fmla="*/ 0 h 732591"/>
              <a:gd name="connsiteX6" fmla="*/ 817523 w 817523"/>
              <a:gd name="connsiteY6" fmla="*/ 51326 h 732591"/>
              <a:gd name="connsiteX0" fmla="*/ 817523 w 817523"/>
              <a:gd name="connsiteY0" fmla="*/ 51326 h 732591"/>
              <a:gd name="connsiteX1" fmla="*/ 479737 w 817523"/>
              <a:gd name="connsiteY1" fmla="*/ 406374 h 732591"/>
              <a:gd name="connsiteX2" fmla="*/ 203464 w 817523"/>
              <a:gd name="connsiteY2" fmla="*/ 732591 h 732591"/>
              <a:gd name="connsiteX3" fmla="*/ 0 w 817523"/>
              <a:gd name="connsiteY3" fmla="*/ 676912 h 732591"/>
              <a:gd name="connsiteX4" fmla="*/ 332451 w 817523"/>
              <a:gd name="connsiteY4" fmla="*/ 250937 h 732591"/>
              <a:gd name="connsiteX5" fmla="*/ 616798 w 817523"/>
              <a:gd name="connsiteY5" fmla="*/ 0 h 732591"/>
              <a:gd name="connsiteX6" fmla="*/ 817523 w 817523"/>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6236 w 811308"/>
              <a:gd name="connsiteY4" fmla="*/ 25093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06251 w 811308"/>
              <a:gd name="connsiteY4" fmla="*/ 258847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3273 w 811308"/>
              <a:gd name="connsiteY4" fmla="*/ 221048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45492 w 811308"/>
              <a:gd name="connsiteY4" fmla="*/ 229410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45492 w 811308"/>
              <a:gd name="connsiteY4" fmla="*/ 229410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45492 w 811308"/>
              <a:gd name="connsiteY4" fmla="*/ 229410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45492 w 811308"/>
              <a:gd name="connsiteY4" fmla="*/ 229410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4326 w 811308"/>
              <a:gd name="connsiteY4" fmla="*/ 266068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9810 w 811308"/>
              <a:gd name="connsiteY4" fmla="*/ 254161 h 732591"/>
              <a:gd name="connsiteX5" fmla="*/ 610583 w 811308"/>
              <a:gd name="connsiteY5" fmla="*/ 0 h 732591"/>
              <a:gd name="connsiteX6" fmla="*/ 811308 w 811308"/>
              <a:gd name="connsiteY6" fmla="*/ 51326 h 732591"/>
              <a:gd name="connsiteX0" fmla="*/ 811308 w 811308"/>
              <a:gd name="connsiteY0" fmla="*/ 51326 h 732591"/>
              <a:gd name="connsiteX1" fmla="*/ 473522 w 811308"/>
              <a:gd name="connsiteY1" fmla="*/ 406374 h 732591"/>
              <a:gd name="connsiteX2" fmla="*/ 197249 w 811308"/>
              <a:gd name="connsiteY2" fmla="*/ 732591 h 732591"/>
              <a:gd name="connsiteX3" fmla="*/ 0 w 811308"/>
              <a:gd name="connsiteY3" fmla="*/ 678625 h 732591"/>
              <a:gd name="connsiteX4" fmla="*/ 329810 w 811308"/>
              <a:gd name="connsiteY4" fmla="*/ 254161 h 732591"/>
              <a:gd name="connsiteX5" fmla="*/ 610583 w 811308"/>
              <a:gd name="connsiteY5" fmla="*/ 0 h 732591"/>
              <a:gd name="connsiteX6" fmla="*/ 811308 w 811308"/>
              <a:gd name="connsiteY6" fmla="*/ 51326 h 732591"/>
              <a:gd name="connsiteX0" fmla="*/ 809805 w 809805"/>
              <a:gd name="connsiteY0" fmla="*/ 48675 h 732591"/>
              <a:gd name="connsiteX1" fmla="*/ 473522 w 809805"/>
              <a:gd name="connsiteY1" fmla="*/ 406374 h 732591"/>
              <a:gd name="connsiteX2" fmla="*/ 197249 w 809805"/>
              <a:gd name="connsiteY2" fmla="*/ 732591 h 732591"/>
              <a:gd name="connsiteX3" fmla="*/ 0 w 809805"/>
              <a:gd name="connsiteY3" fmla="*/ 678625 h 732591"/>
              <a:gd name="connsiteX4" fmla="*/ 329810 w 809805"/>
              <a:gd name="connsiteY4" fmla="*/ 254161 h 732591"/>
              <a:gd name="connsiteX5" fmla="*/ 610583 w 809805"/>
              <a:gd name="connsiteY5" fmla="*/ 0 h 732591"/>
              <a:gd name="connsiteX6" fmla="*/ 809805 w 809805"/>
              <a:gd name="connsiteY6" fmla="*/ 48675 h 732591"/>
              <a:gd name="connsiteX0" fmla="*/ 808667 w 808667"/>
              <a:gd name="connsiteY0" fmla="*/ 52833 h 732591"/>
              <a:gd name="connsiteX1" fmla="*/ 473522 w 808667"/>
              <a:gd name="connsiteY1" fmla="*/ 406374 h 732591"/>
              <a:gd name="connsiteX2" fmla="*/ 197249 w 808667"/>
              <a:gd name="connsiteY2" fmla="*/ 732591 h 732591"/>
              <a:gd name="connsiteX3" fmla="*/ 0 w 808667"/>
              <a:gd name="connsiteY3" fmla="*/ 678625 h 732591"/>
              <a:gd name="connsiteX4" fmla="*/ 329810 w 808667"/>
              <a:gd name="connsiteY4" fmla="*/ 254161 h 732591"/>
              <a:gd name="connsiteX5" fmla="*/ 610583 w 808667"/>
              <a:gd name="connsiteY5" fmla="*/ 0 h 732591"/>
              <a:gd name="connsiteX6" fmla="*/ 808667 w 808667"/>
              <a:gd name="connsiteY6" fmla="*/ 52833 h 732591"/>
              <a:gd name="connsiteX0" fmla="*/ 812810 w 812810"/>
              <a:gd name="connsiteY0" fmla="*/ 53975 h 732591"/>
              <a:gd name="connsiteX1" fmla="*/ 473522 w 812810"/>
              <a:gd name="connsiteY1" fmla="*/ 406374 h 732591"/>
              <a:gd name="connsiteX2" fmla="*/ 197249 w 812810"/>
              <a:gd name="connsiteY2" fmla="*/ 732591 h 732591"/>
              <a:gd name="connsiteX3" fmla="*/ 0 w 812810"/>
              <a:gd name="connsiteY3" fmla="*/ 678625 h 732591"/>
              <a:gd name="connsiteX4" fmla="*/ 329810 w 812810"/>
              <a:gd name="connsiteY4" fmla="*/ 254161 h 732591"/>
              <a:gd name="connsiteX5" fmla="*/ 610583 w 812810"/>
              <a:gd name="connsiteY5" fmla="*/ 0 h 732591"/>
              <a:gd name="connsiteX6" fmla="*/ 812810 w 812810"/>
              <a:gd name="connsiteY6" fmla="*/ 53975 h 732591"/>
              <a:gd name="connsiteX0" fmla="*/ 812810 w 812810"/>
              <a:gd name="connsiteY0" fmla="*/ 53975 h 739282"/>
              <a:gd name="connsiteX1" fmla="*/ 473522 w 812810"/>
              <a:gd name="connsiteY1" fmla="*/ 406374 h 739282"/>
              <a:gd name="connsiteX2" fmla="*/ 237746 w 812810"/>
              <a:gd name="connsiteY2" fmla="*/ 739282 h 739282"/>
              <a:gd name="connsiteX3" fmla="*/ 0 w 812810"/>
              <a:gd name="connsiteY3" fmla="*/ 678625 h 739282"/>
              <a:gd name="connsiteX4" fmla="*/ 329810 w 812810"/>
              <a:gd name="connsiteY4" fmla="*/ 254161 h 739282"/>
              <a:gd name="connsiteX5" fmla="*/ 610583 w 812810"/>
              <a:gd name="connsiteY5" fmla="*/ 0 h 739282"/>
              <a:gd name="connsiteX6" fmla="*/ 812810 w 812810"/>
              <a:gd name="connsiteY6" fmla="*/ 53975 h 739282"/>
              <a:gd name="connsiteX0" fmla="*/ 764595 w 764595"/>
              <a:gd name="connsiteY0" fmla="*/ 53975 h 739282"/>
              <a:gd name="connsiteX1" fmla="*/ 425307 w 764595"/>
              <a:gd name="connsiteY1" fmla="*/ 406374 h 739282"/>
              <a:gd name="connsiteX2" fmla="*/ 189531 w 764595"/>
              <a:gd name="connsiteY2" fmla="*/ 739282 h 739282"/>
              <a:gd name="connsiteX3" fmla="*/ 0 w 764595"/>
              <a:gd name="connsiteY3" fmla="*/ 689679 h 739282"/>
              <a:gd name="connsiteX4" fmla="*/ 281595 w 764595"/>
              <a:gd name="connsiteY4" fmla="*/ 254161 h 739282"/>
              <a:gd name="connsiteX5" fmla="*/ 562368 w 764595"/>
              <a:gd name="connsiteY5" fmla="*/ 0 h 739282"/>
              <a:gd name="connsiteX6" fmla="*/ 764595 w 764595"/>
              <a:gd name="connsiteY6" fmla="*/ 53975 h 739282"/>
              <a:gd name="connsiteX0" fmla="*/ 766829 w 766829"/>
              <a:gd name="connsiteY0" fmla="*/ 53975 h 739282"/>
              <a:gd name="connsiteX1" fmla="*/ 427541 w 766829"/>
              <a:gd name="connsiteY1" fmla="*/ 406374 h 739282"/>
              <a:gd name="connsiteX2" fmla="*/ 191765 w 766829"/>
              <a:gd name="connsiteY2" fmla="*/ 739282 h 739282"/>
              <a:gd name="connsiteX3" fmla="*/ 0 w 766829"/>
              <a:gd name="connsiteY3" fmla="*/ 673407 h 739282"/>
              <a:gd name="connsiteX4" fmla="*/ 283829 w 766829"/>
              <a:gd name="connsiteY4" fmla="*/ 254161 h 739282"/>
              <a:gd name="connsiteX5" fmla="*/ 564602 w 766829"/>
              <a:gd name="connsiteY5" fmla="*/ 0 h 739282"/>
              <a:gd name="connsiteX6" fmla="*/ 766829 w 766829"/>
              <a:gd name="connsiteY6" fmla="*/ 53975 h 739282"/>
              <a:gd name="connsiteX0" fmla="*/ 766829 w 766829"/>
              <a:gd name="connsiteY0" fmla="*/ 53975 h 729455"/>
              <a:gd name="connsiteX1" fmla="*/ 427541 w 766829"/>
              <a:gd name="connsiteY1" fmla="*/ 406374 h 729455"/>
              <a:gd name="connsiteX2" fmla="*/ 196680 w 766829"/>
              <a:gd name="connsiteY2" fmla="*/ 729455 h 729455"/>
              <a:gd name="connsiteX3" fmla="*/ 0 w 766829"/>
              <a:gd name="connsiteY3" fmla="*/ 673407 h 729455"/>
              <a:gd name="connsiteX4" fmla="*/ 283829 w 766829"/>
              <a:gd name="connsiteY4" fmla="*/ 254161 h 729455"/>
              <a:gd name="connsiteX5" fmla="*/ 564602 w 766829"/>
              <a:gd name="connsiteY5" fmla="*/ 0 h 729455"/>
              <a:gd name="connsiteX6" fmla="*/ 766829 w 766829"/>
              <a:gd name="connsiteY6" fmla="*/ 53975 h 729455"/>
              <a:gd name="connsiteX0" fmla="*/ 766465 w 766465"/>
              <a:gd name="connsiteY0" fmla="*/ 53975 h 729455"/>
              <a:gd name="connsiteX1" fmla="*/ 427177 w 766465"/>
              <a:gd name="connsiteY1" fmla="*/ 406374 h 729455"/>
              <a:gd name="connsiteX2" fmla="*/ 196316 w 766465"/>
              <a:gd name="connsiteY2" fmla="*/ 729455 h 729455"/>
              <a:gd name="connsiteX3" fmla="*/ 0 w 766465"/>
              <a:gd name="connsiteY3" fmla="*/ 680217 h 729455"/>
              <a:gd name="connsiteX4" fmla="*/ 283465 w 766465"/>
              <a:gd name="connsiteY4" fmla="*/ 254161 h 729455"/>
              <a:gd name="connsiteX5" fmla="*/ 564238 w 766465"/>
              <a:gd name="connsiteY5" fmla="*/ 0 h 729455"/>
              <a:gd name="connsiteX6" fmla="*/ 766465 w 766465"/>
              <a:gd name="connsiteY6" fmla="*/ 53975 h 729455"/>
              <a:gd name="connsiteX0" fmla="*/ 766465 w 766465"/>
              <a:gd name="connsiteY0" fmla="*/ 53975 h 729455"/>
              <a:gd name="connsiteX1" fmla="*/ 427177 w 766465"/>
              <a:gd name="connsiteY1" fmla="*/ 406374 h 729455"/>
              <a:gd name="connsiteX2" fmla="*/ 196316 w 766465"/>
              <a:gd name="connsiteY2" fmla="*/ 729455 h 729455"/>
              <a:gd name="connsiteX3" fmla="*/ 0 w 766465"/>
              <a:gd name="connsiteY3" fmla="*/ 680217 h 729455"/>
              <a:gd name="connsiteX4" fmla="*/ 283465 w 766465"/>
              <a:gd name="connsiteY4" fmla="*/ 254161 h 729455"/>
              <a:gd name="connsiteX5" fmla="*/ 564238 w 766465"/>
              <a:gd name="connsiteY5" fmla="*/ 0 h 729455"/>
              <a:gd name="connsiteX6" fmla="*/ 766465 w 766465"/>
              <a:gd name="connsiteY6" fmla="*/ 53975 h 729455"/>
              <a:gd name="connsiteX0" fmla="*/ 766465 w 766465"/>
              <a:gd name="connsiteY0" fmla="*/ 53975 h 733818"/>
              <a:gd name="connsiteX1" fmla="*/ 427177 w 766465"/>
              <a:gd name="connsiteY1" fmla="*/ 406374 h 733818"/>
              <a:gd name="connsiteX2" fmla="*/ 204035 w 766465"/>
              <a:gd name="connsiteY2" fmla="*/ 733818 h 733818"/>
              <a:gd name="connsiteX3" fmla="*/ 0 w 766465"/>
              <a:gd name="connsiteY3" fmla="*/ 680217 h 733818"/>
              <a:gd name="connsiteX4" fmla="*/ 283465 w 766465"/>
              <a:gd name="connsiteY4" fmla="*/ 254161 h 733818"/>
              <a:gd name="connsiteX5" fmla="*/ 564238 w 766465"/>
              <a:gd name="connsiteY5" fmla="*/ 0 h 733818"/>
              <a:gd name="connsiteX6" fmla="*/ 766465 w 766465"/>
              <a:gd name="connsiteY6" fmla="*/ 53975 h 733818"/>
              <a:gd name="connsiteX0" fmla="*/ 766465 w 766465"/>
              <a:gd name="connsiteY0" fmla="*/ 52833 h 732676"/>
              <a:gd name="connsiteX1" fmla="*/ 427177 w 766465"/>
              <a:gd name="connsiteY1" fmla="*/ 405232 h 732676"/>
              <a:gd name="connsiteX2" fmla="*/ 204035 w 766465"/>
              <a:gd name="connsiteY2" fmla="*/ 732676 h 732676"/>
              <a:gd name="connsiteX3" fmla="*/ 0 w 766465"/>
              <a:gd name="connsiteY3" fmla="*/ 679075 h 732676"/>
              <a:gd name="connsiteX4" fmla="*/ 283465 w 766465"/>
              <a:gd name="connsiteY4" fmla="*/ 253019 h 732676"/>
              <a:gd name="connsiteX5" fmla="*/ 568382 w 766465"/>
              <a:gd name="connsiteY5" fmla="*/ 0 h 732676"/>
              <a:gd name="connsiteX6" fmla="*/ 766465 w 766465"/>
              <a:gd name="connsiteY6" fmla="*/ 52833 h 732676"/>
              <a:gd name="connsiteX0" fmla="*/ 766465 w 766465"/>
              <a:gd name="connsiteY0" fmla="*/ 52833 h 751316"/>
              <a:gd name="connsiteX1" fmla="*/ 427177 w 766465"/>
              <a:gd name="connsiteY1" fmla="*/ 405232 h 751316"/>
              <a:gd name="connsiteX2" fmla="*/ 263543 w 766465"/>
              <a:gd name="connsiteY2" fmla="*/ 751316 h 751316"/>
              <a:gd name="connsiteX3" fmla="*/ 0 w 766465"/>
              <a:gd name="connsiteY3" fmla="*/ 679075 h 751316"/>
              <a:gd name="connsiteX4" fmla="*/ 283465 w 766465"/>
              <a:gd name="connsiteY4" fmla="*/ 253019 h 751316"/>
              <a:gd name="connsiteX5" fmla="*/ 568382 w 766465"/>
              <a:gd name="connsiteY5" fmla="*/ 0 h 751316"/>
              <a:gd name="connsiteX6" fmla="*/ 766465 w 766465"/>
              <a:gd name="connsiteY6" fmla="*/ 52833 h 751316"/>
              <a:gd name="connsiteX0" fmla="*/ 702247 w 702247"/>
              <a:gd name="connsiteY0" fmla="*/ 52833 h 751316"/>
              <a:gd name="connsiteX1" fmla="*/ 362959 w 702247"/>
              <a:gd name="connsiteY1" fmla="*/ 405232 h 751316"/>
              <a:gd name="connsiteX2" fmla="*/ 199325 w 702247"/>
              <a:gd name="connsiteY2" fmla="*/ 751316 h 751316"/>
              <a:gd name="connsiteX3" fmla="*/ 0 w 702247"/>
              <a:gd name="connsiteY3" fmla="*/ 696776 h 751316"/>
              <a:gd name="connsiteX4" fmla="*/ 219247 w 702247"/>
              <a:gd name="connsiteY4" fmla="*/ 253019 h 751316"/>
              <a:gd name="connsiteX5" fmla="*/ 504164 w 702247"/>
              <a:gd name="connsiteY5" fmla="*/ 0 h 751316"/>
              <a:gd name="connsiteX6" fmla="*/ 702247 w 702247"/>
              <a:gd name="connsiteY6" fmla="*/ 52833 h 751316"/>
              <a:gd name="connsiteX0" fmla="*/ 702247 w 702247"/>
              <a:gd name="connsiteY0" fmla="*/ 52833 h 751316"/>
              <a:gd name="connsiteX1" fmla="*/ 362959 w 702247"/>
              <a:gd name="connsiteY1" fmla="*/ 405232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51316"/>
              <a:gd name="connsiteX1" fmla="*/ 399560 w 702247"/>
              <a:gd name="connsiteY1" fmla="*/ 377301 h 751316"/>
              <a:gd name="connsiteX2" fmla="*/ 199325 w 702247"/>
              <a:gd name="connsiteY2" fmla="*/ 751316 h 751316"/>
              <a:gd name="connsiteX3" fmla="*/ 0 w 702247"/>
              <a:gd name="connsiteY3" fmla="*/ 696776 h 751316"/>
              <a:gd name="connsiteX4" fmla="*/ 272175 w 702247"/>
              <a:gd name="connsiteY4" fmla="*/ 263135 h 751316"/>
              <a:gd name="connsiteX5" fmla="*/ 504164 w 702247"/>
              <a:gd name="connsiteY5" fmla="*/ 0 h 751316"/>
              <a:gd name="connsiteX6" fmla="*/ 702247 w 702247"/>
              <a:gd name="connsiteY6" fmla="*/ 52833 h 751316"/>
              <a:gd name="connsiteX0" fmla="*/ 702247 w 702247"/>
              <a:gd name="connsiteY0" fmla="*/ 52833 h 746586"/>
              <a:gd name="connsiteX1" fmla="*/ 399560 w 702247"/>
              <a:gd name="connsiteY1" fmla="*/ 377301 h 746586"/>
              <a:gd name="connsiteX2" fmla="*/ 198390 w 702247"/>
              <a:gd name="connsiteY2" fmla="*/ 746586 h 746586"/>
              <a:gd name="connsiteX3" fmla="*/ 0 w 702247"/>
              <a:gd name="connsiteY3" fmla="*/ 696776 h 746586"/>
              <a:gd name="connsiteX4" fmla="*/ 272175 w 702247"/>
              <a:gd name="connsiteY4" fmla="*/ 263135 h 746586"/>
              <a:gd name="connsiteX5" fmla="*/ 504164 w 702247"/>
              <a:gd name="connsiteY5" fmla="*/ 0 h 746586"/>
              <a:gd name="connsiteX6" fmla="*/ 702247 w 702247"/>
              <a:gd name="connsiteY6" fmla="*/ 52833 h 746586"/>
              <a:gd name="connsiteX0" fmla="*/ 701679 w 701679"/>
              <a:gd name="connsiteY0" fmla="*/ 52833 h 746586"/>
              <a:gd name="connsiteX1" fmla="*/ 398992 w 701679"/>
              <a:gd name="connsiteY1" fmla="*/ 377301 h 746586"/>
              <a:gd name="connsiteX2" fmla="*/ 197822 w 701679"/>
              <a:gd name="connsiteY2" fmla="*/ 746586 h 746586"/>
              <a:gd name="connsiteX3" fmla="*/ 0 w 701679"/>
              <a:gd name="connsiteY3" fmla="*/ 694696 h 746586"/>
              <a:gd name="connsiteX4" fmla="*/ 271607 w 701679"/>
              <a:gd name="connsiteY4" fmla="*/ 263135 h 746586"/>
              <a:gd name="connsiteX5" fmla="*/ 503596 w 701679"/>
              <a:gd name="connsiteY5" fmla="*/ 0 h 746586"/>
              <a:gd name="connsiteX6" fmla="*/ 701679 w 701679"/>
              <a:gd name="connsiteY6" fmla="*/ 52833 h 746586"/>
              <a:gd name="connsiteX0" fmla="*/ 701679 w 701679"/>
              <a:gd name="connsiteY0" fmla="*/ 52833 h 746586"/>
              <a:gd name="connsiteX1" fmla="*/ 398992 w 701679"/>
              <a:gd name="connsiteY1" fmla="*/ 377301 h 746586"/>
              <a:gd name="connsiteX2" fmla="*/ 197822 w 701679"/>
              <a:gd name="connsiteY2" fmla="*/ 746586 h 746586"/>
              <a:gd name="connsiteX3" fmla="*/ 0 w 701679"/>
              <a:gd name="connsiteY3" fmla="*/ 694696 h 746586"/>
              <a:gd name="connsiteX4" fmla="*/ 271607 w 701679"/>
              <a:gd name="connsiteY4" fmla="*/ 263135 h 746586"/>
              <a:gd name="connsiteX5" fmla="*/ 503596 w 701679"/>
              <a:gd name="connsiteY5" fmla="*/ 0 h 746586"/>
              <a:gd name="connsiteX6" fmla="*/ 701679 w 701679"/>
              <a:gd name="connsiteY6" fmla="*/ 52833 h 746586"/>
              <a:gd name="connsiteX0" fmla="*/ 701679 w 701679"/>
              <a:gd name="connsiteY0" fmla="*/ 52833 h 746586"/>
              <a:gd name="connsiteX1" fmla="*/ 398992 w 701679"/>
              <a:gd name="connsiteY1" fmla="*/ 377301 h 746586"/>
              <a:gd name="connsiteX2" fmla="*/ 197822 w 701679"/>
              <a:gd name="connsiteY2" fmla="*/ 746586 h 746586"/>
              <a:gd name="connsiteX3" fmla="*/ 0 w 701679"/>
              <a:gd name="connsiteY3" fmla="*/ 694696 h 746586"/>
              <a:gd name="connsiteX4" fmla="*/ 271607 w 701679"/>
              <a:gd name="connsiteY4" fmla="*/ 263135 h 746586"/>
              <a:gd name="connsiteX5" fmla="*/ 503596 w 701679"/>
              <a:gd name="connsiteY5" fmla="*/ 0 h 746586"/>
              <a:gd name="connsiteX6" fmla="*/ 701679 w 701679"/>
              <a:gd name="connsiteY6" fmla="*/ 52833 h 746586"/>
              <a:gd name="connsiteX0" fmla="*/ 703750 w 703750"/>
              <a:gd name="connsiteY0" fmla="*/ 52833 h 746586"/>
              <a:gd name="connsiteX1" fmla="*/ 401063 w 703750"/>
              <a:gd name="connsiteY1" fmla="*/ 377301 h 746586"/>
              <a:gd name="connsiteX2" fmla="*/ 199893 w 703750"/>
              <a:gd name="connsiteY2" fmla="*/ 746586 h 746586"/>
              <a:gd name="connsiteX3" fmla="*/ 0 w 703750"/>
              <a:gd name="connsiteY3" fmla="*/ 694125 h 746586"/>
              <a:gd name="connsiteX4" fmla="*/ 273678 w 703750"/>
              <a:gd name="connsiteY4" fmla="*/ 263135 h 746586"/>
              <a:gd name="connsiteX5" fmla="*/ 505667 w 703750"/>
              <a:gd name="connsiteY5" fmla="*/ 0 h 746586"/>
              <a:gd name="connsiteX6" fmla="*/ 703750 w 703750"/>
              <a:gd name="connsiteY6" fmla="*/ 52833 h 746586"/>
              <a:gd name="connsiteX0" fmla="*/ 703750 w 703750"/>
              <a:gd name="connsiteY0" fmla="*/ 52833 h 746586"/>
              <a:gd name="connsiteX1" fmla="*/ 401063 w 703750"/>
              <a:gd name="connsiteY1" fmla="*/ 377301 h 746586"/>
              <a:gd name="connsiteX2" fmla="*/ 199893 w 703750"/>
              <a:gd name="connsiteY2" fmla="*/ 746586 h 746586"/>
              <a:gd name="connsiteX3" fmla="*/ 0 w 703750"/>
              <a:gd name="connsiteY3" fmla="*/ 694125 h 746586"/>
              <a:gd name="connsiteX4" fmla="*/ 273678 w 703750"/>
              <a:gd name="connsiteY4" fmla="*/ 263135 h 746586"/>
              <a:gd name="connsiteX5" fmla="*/ 505667 w 703750"/>
              <a:gd name="connsiteY5" fmla="*/ 0 h 746586"/>
              <a:gd name="connsiteX6" fmla="*/ 703750 w 703750"/>
              <a:gd name="connsiteY6" fmla="*/ 52833 h 74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3750" h="746586">
                <a:moveTo>
                  <a:pt x="703750" y="52833"/>
                </a:moveTo>
                <a:cubicBezTo>
                  <a:pt x="657430" y="132265"/>
                  <a:pt x="485039" y="261676"/>
                  <a:pt x="401063" y="377301"/>
                </a:cubicBezTo>
                <a:cubicBezTo>
                  <a:pt x="317087" y="492926"/>
                  <a:pt x="241494" y="617873"/>
                  <a:pt x="199893" y="746586"/>
                </a:cubicBezTo>
                <a:lnTo>
                  <a:pt x="0" y="694125"/>
                </a:lnTo>
                <a:cubicBezTo>
                  <a:pt x="33043" y="605410"/>
                  <a:pt x="161892" y="380590"/>
                  <a:pt x="273678" y="263135"/>
                </a:cubicBezTo>
                <a:cubicBezTo>
                  <a:pt x="371215" y="165106"/>
                  <a:pt x="450725" y="73795"/>
                  <a:pt x="505667" y="0"/>
                </a:cubicBezTo>
                <a:lnTo>
                  <a:pt x="703750" y="52833"/>
                </a:lnTo>
                <a:close/>
              </a:path>
            </a:pathLst>
          </a:custGeom>
          <a:solidFill>
            <a:srgbClr val="A1B3C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nl-NL"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sp>
        <p:nvSpPr>
          <p:cNvPr id="11" name="Freeform: Shape 10">
            <a:extLst>
              <a:ext uri="{FF2B5EF4-FFF2-40B4-BE49-F238E27FC236}">
                <a16:creationId xmlns:a16="http://schemas.microsoft.com/office/drawing/2014/main" id="{9D08B4B8-EF9D-4916-8227-C567E229FCB6}"/>
              </a:ext>
            </a:extLst>
          </p:cNvPr>
          <p:cNvSpPr/>
          <p:nvPr/>
        </p:nvSpPr>
        <p:spPr>
          <a:xfrm>
            <a:off x="6312379" y="3890513"/>
            <a:ext cx="1423359" cy="670704"/>
          </a:xfrm>
          <a:custGeom>
            <a:avLst/>
            <a:gdLst>
              <a:gd name="connsiteX0" fmla="*/ 0 w 1423359"/>
              <a:gd name="connsiteY0" fmla="*/ 670704 h 670704"/>
              <a:gd name="connsiteX1" fmla="*/ 396815 w 1423359"/>
              <a:gd name="connsiteY1" fmla="*/ 640512 h 670704"/>
              <a:gd name="connsiteX2" fmla="*/ 703053 w 1423359"/>
              <a:gd name="connsiteY2" fmla="*/ 571500 h 670704"/>
              <a:gd name="connsiteX3" fmla="*/ 1011447 w 1423359"/>
              <a:gd name="connsiteY3" fmla="*/ 398972 h 670704"/>
              <a:gd name="connsiteX4" fmla="*/ 1276710 w 1423359"/>
              <a:gd name="connsiteY4" fmla="*/ 168215 h 670704"/>
              <a:gd name="connsiteX5" fmla="*/ 1423359 w 1423359"/>
              <a:gd name="connsiteY5" fmla="*/ 0 h 67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359" h="670704">
                <a:moveTo>
                  <a:pt x="0" y="670704"/>
                </a:moveTo>
                <a:cubicBezTo>
                  <a:pt x="139820" y="663875"/>
                  <a:pt x="279640" y="657046"/>
                  <a:pt x="396815" y="640512"/>
                </a:cubicBezTo>
                <a:cubicBezTo>
                  <a:pt x="513990" y="623978"/>
                  <a:pt x="600614" y="611757"/>
                  <a:pt x="703053" y="571500"/>
                </a:cubicBezTo>
                <a:cubicBezTo>
                  <a:pt x="805492" y="531243"/>
                  <a:pt x="915837" y="466186"/>
                  <a:pt x="1011447" y="398972"/>
                </a:cubicBezTo>
                <a:cubicBezTo>
                  <a:pt x="1107057" y="331758"/>
                  <a:pt x="1208058" y="234710"/>
                  <a:pt x="1276710" y="168215"/>
                </a:cubicBezTo>
                <a:cubicBezTo>
                  <a:pt x="1345362" y="101720"/>
                  <a:pt x="1384360" y="50860"/>
                  <a:pt x="1423359" y="0"/>
                </a:cubicBezTo>
              </a:path>
            </a:pathLst>
          </a:custGeom>
          <a:noFill/>
          <a:ln w="2857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BC25737F-1409-4C0E-972F-E55DEC493FB3}"/>
              </a:ext>
            </a:extLst>
          </p:cNvPr>
          <p:cNvSpPr/>
          <p:nvPr/>
        </p:nvSpPr>
        <p:spPr>
          <a:xfrm>
            <a:off x="4412411" y="3903453"/>
            <a:ext cx="3713672" cy="1811547"/>
          </a:xfrm>
          <a:custGeom>
            <a:avLst/>
            <a:gdLst>
              <a:gd name="connsiteX0" fmla="*/ 0 w 3713672"/>
              <a:gd name="connsiteY0" fmla="*/ 1811547 h 1811547"/>
              <a:gd name="connsiteX1" fmla="*/ 1328468 w 3713672"/>
              <a:gd name="connsiteY1" fmla="*/ 1695090 h 1811547"/>
              <a:gd name="connsiteX2" fmla="*/ 2393831 w 3713672"/>
              <a:gd name="connsiteY2" fmla="*/ 1453551 h 1811547"/>
              <a:gd name="connsiteX3" fmla="*/ 2958861 w 3713672"/>
              <a:gd name="connsiteY3" fmla="*/ 1086928 h 1811547"/>
              <a:gd name="connsiteX4" fmla="*/ 3433314 w 3713672"/>
              <a:gd name="connsiteY4" fmla="*/ 534838 h 1811547"/>
              <a:gd name="connsiteX5" fmla="*/ 3713672 w 3713672"/>
              <a:gd name="connsiteY5" fmla="*/ 0 h 181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3672" h="1811547">
                <a:moveTo>
                  <a:pt x="0" y="1811547"/>
                </a:moveTo>
                <a:cubicBezTo>
                  <a:pt x="464748" y="1783151"/>
                  <a:pt x="929496" y="1754756"/>
                  <a:pt x="1328468" y="1695090"/>
                </a:cubicBezTo>
                <a:cubicBezTo>
                  <a:pt x="1727440" y="1635424"/>
                  <a:pt x="2122099" y="1554911"/>
                  <a:pt x="2393831" y="1453551"/>
                </a:cubicBezTo>
                <a:cubicBezTo>
                  <a:pt x="2665563" y="1352191"/>
                  <a:pt x="2785614" y="1240047"/>
                  <a:pt x="2958861" y="1086928"/>
                </a:cubicBezTo>
                <a:cubicBezTo>
                  <a:pt x="3132108" y="933809"/>
                  <a:pt x="3307512" y="715993"/>
                  <a:pt x="3433314" y="534838"/>
                </a:cubicBezTo>
                <a:cubicBezTo>
                  <a:pt x="3559116" y="353683"/>
                  <a:pt x="3636394" y="176841"/>
                  <a:pt x="3713672" y="0"/>
                </a:cubicBezTo>
              </a:path>
            </a:pathLst>
          </a:custGeom>
          <a:noFill/>
          <a:ln w="2857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a:extLst>
              <a:ext uri="{FF2B5EF4-FFF2-40B4-BE49-F238E27FC236}">
                <a16:creationId xmlns:a16="http://schemas.microsoft.com/office/drawing/2014/main" id="{D4ACADAA-029C-4190-97C5-754CF1729DDC}"/>
              </a:ext>
            </a:extLst>
          </p:cNvPr>
          <p:cNvSpPr txBox="1"/>
          <p:nvPr/>
        </p:nvSpPr>
        <p:spPr>
          <a:xfrm>
            <a:off x="5254038" y="5403881"/>
            <a:ext cx="1111520" cy="332399"/>
          </a:xfrm>
          <a:prstGeom prst="rect">
            <a:avLst/>
          </a:prstGeom>
          <a:solidFill>
            <a:srgbClr val="FFFFFF">
              <a:alpha val="50000"/>
            </a:srgbClr>
          </a:solidFill>
        </p:spPr>
        <p:txBody>
          <a:bodyPr wrap="square" lIns="0" tIns="0" rIns="0" bIns="0" rtlCol="0">
            <a:spAutoFit/>
          </a:bodyPr>
          <a:lstStyle>
            <a:defPPr>
              <a:defRPr lang="en-US"/>
            </a:defPPr>
            <a:lvl1pPr eaLnBrk="0" fontAlgn="base" hangingPunct="0">
              <a:lnSpc>
                <a:spcPct val="90000"/>
              </a:lnSpc>
              <a:spcBef>
                <a:spcPct val="30000"/>
              </a:spcBef>
              <a:spcAft>
                <a:spcPct val="10000"/>
              </a:spcAft>
              <a:defRPr sz="1200" b="1">
                <a:solidFill>
                  <a:srgbClr val="002856"/>
                </a:solidFill>
                <a:ea typeface="Arial Unicode MS" pitchFamily="34" charset="-128"/>
              </a:defRPr>
            </a:lvl1pPr>
          </a:lstStyle>
          <a:p>
            <a:r>
              <a:rPr lang="en-US" dirty="0"/>
              <a:t>Build CTS Hub Foundations</a:t>
            </a:r>
          </a:p>
        </p:txBody>
      </p:sp>
      <p:sp>
        <p:nvSpPr>
          <p:cNvPr id="26" name="Freeform: Shape 25">
            <a:extLst>
              <a:ext uri="{FF2B5EF4-FFF2-40B4-BE49-F238E27FC236}">
                <a16:creationId xmlns:a16="http://schemas.microsoft.com/office/drawing/2014/main" id="{3A0F2A50-7C87-4215-9113-9BE47F487E08}"/>
              </a:ext>
            </a:extLst>
          </p:cNvPr>
          <p:cNvSpPr/>
          <p:nvPr/>
        </p:nvSpPr>
        <p:spPr>
          <a:xfrm>
            <a:off x="4638136" y="2461404"/>
            <a:ext cx="3237781" cy="1112807"/>
          </a:xfrm>
          <a:custGeom>
            <a:avLst/>
            <a:gdLst>
              <a:gd name="connsiteX0" fmla="*/ 0 w 3237781"/>
              <a:gd name="connsiteY0" fmla="*/ 0 h 1112807"/>
              <a:gd name="connsiteX1" fmla="*/ 776377 w 3237781"/>
              <a:gd name="connsiteY1" fmla="*/ 86264 h 1112807"/>
              <a:gd name="connsiteX2" fmla="*/ 1662022 w 3237781"/>
              <a:gd name="connsiteY2" fmla="*/ 253041 h 1112807"/>
              <a:gd name="connsiteX3" fmla="*/ 2202611 w 3237781"/>
              <a:gd name="connsiteY3" fmla="*/ 474453 h 1112807"/>
              <a:gd name="connsiteX4" fmla="*/ 3237781 w 3237781"/>
              <a:gd name="connsiteY4" fmla="*/ 1112807 h 111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7781" h="1112807">
                <a:moveTo>
                  <a:pt x="0" y="0"/>
                </a:moveTo>
                <a:cubicBezTo>
                  <a:pt x="249686" y="22045"/>
                  <a:pt x="499373" y="44091"/>
                  <a:pt x="776377" y="86264"/>
                </a:cubicBezTo>
                <a:cubicBezTo>
                  <a:pt x="1053381" y="128438"/>
                  <a:pt x="1424316" y="188343"/>
                  <a:pt x="1662022" y="253041"/>
                </a:cubicBezTo>
                <a:cubicBezTo>
                  <a:pt x="1899728" y="317739"/>
                  <a:pt x="1939985" y="331159"/>
                  <a:pt x="2202611" y="474453"/>
                </a:cubicBezTo>
                <a:cubicBezTo>
                  <a:pt x="2465237" y="617747"/>
                  <a:pt x="2851509" y="865277"/>
                  <a:pt x="3237781" y="1112807"/>
                </a:cubicBezTo>
              </a:path>
            </a:pathLst>
          </a:custGeom>
          <a:noFill/>
          <a:ln w="2857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50">
            <a:extLst>
              <a:ext uri="{FF2B5EF4-FFF2-40B4-BE49-F238E27FC236}">
                <a16:creationId xmlns:a16="http://schemas.microsoft.com/office/drawing/2014/main" id="{D32D6235-F85C-48E6-AF2B-224E0599CE97}"/>
              </a:ext>
            </a:extLst>
          </p:cNvPr>
          <p:cNvSpPr>
            <a:spLocks noChangeAspect="1" noEditPoints="1"/>
          </p:cNvSpPr>
          <p:nvPr/>
        </p:nvSpPr>
        <p:spPr bwMode="gray">
          <a:xfrm>
            <a:off x="859166" y="3423656"/>
            <a:ext cx="238792" cy="235788"/>
          </a:xfrm>
          <a:custGeom>
            <a:avLst/>
            <a:gdLst>
              <a:gd name="T0" fmla="*/ 187 w 234"/>
              <a:gd name="T1" fmla="*/ 210 h 231"/>
              <a:gd name="T2" fmla="*/ 173 w 234"/>
              <a:gd name="T3" fmla="*/ 202 h 231"/>
              <a:gd name="T4" fmla="*/ 203 w 234"/>
              <a:gd name="T5" fmla="*/ 130 h 231"/>
              <a:gd name="T6" fmla="*/ 142 w 234"/>
              <a:gd name="T7" fmla="*/ 21 h 231"/>
              <a:gd name="T8" fmla="*/ 89 w 234"/>
              <a:gd name="T9" fmla="*/ 23 h 231"/>
              <a:gd name="T10" fmla="*/ 83 w 234"/>
              <a:gd name="T11" fmla="*/ 8 h 231"/>
              <a:gd name="T12" fmla="*/ 147 w 234"/>
              <a:gd name="T13" fmla="*/ 6 h 231"/>
              <a:gd name="T14" fmla="*/ 218 w 234"/>
              <a:gd name="T15" fmla="*/ 135 h 231"/>
              <a:gd name="T16" fmla="*/ 187 w 234"/>
              <a:gd name="T17" fmla="*/ 210 h 231"/>
              <a:gd name="T18" fmla="*/ 33 w 234"/>
              <a:gd name="T19" fmla="*/ 82 h 231"/>
              <a:gd name="T20" fmla="*/ 74 w 234"/>
              <a:gd name="T21" fmla="*/ 30 h 231"/>
              <a:gd name="T22" fmla="*/ 66 w 234"/>
              <a:gd name="T23" fmla="*/ 16 h 231"/>
              <a:gd name="T24" fmla="*/ 18 w 234"/>
              <a:gd name="T25" fmla="*/ 77 h 231"/>
              <a:gd name="T26" fmla="*/ 0 w 234"/>
              <a:gd name="T27" fmla="*/ 118 h 231"/>
              <a:gd name="T28" fmla="*/ 14 w 234"/>
              <a:gd name="T29" fmla="*/ 126 h 231"/>
              <a:gd name="T30" fmla="*/ 33 w 234"/>
              <a:gd name="T31" fmla="*/ 82 h 231"/>
              <a:gd name="T32" fmla="*/ 187 w 234"/>
              <a:gd name="T33" fmla="*/ 126 h 231"/>
              <a:gd name="T34" fmla="*/ 154 w 234"/>
              <a:gd name="T35" fmla="*/ 44 h 231"/>
              <a:gd name="T36" fmla="*/ 146 w 234"/>
              <a:gd name="T37" fmla="*/ 57 h 231"/>
              <a:gd name="T38" fmla="*/ 172 w 234"/>
              <a:gd name="T39" fmla="*/ 121 h 231"/>
              <a:gd name="T40" fmla="*/ 123 w 234"/>
              <a:gd name="T41" fmla="*/ 221 h 231"/>
              <a:gd name="T42" fmla="*/ 135 w 234"/>
              <a:gd name="T43" fmla="*/ 231 h 231"/>
              <a:gd name="T44" fmla="*/ 187 w 234"/>
              <a:gd name="T45" fmla="*/ 126 h 231"/>
              <a:gd name="T46" fmla="*/ 64 w 234"/>
              <a:gd name="T47" fmla="*/ 91 h 231"/>
              <a:gd name="T48" fmla="*/ 118 w 234"/>
              <a:gd name="T49" fmla="*/ 50 h 231"/>
              <a:gd name="T50" fmla="*/ 132 w 234"/>
              <a:gd name="T51" fmla="*/ 52 h 231"/>
              <a:gd name="T52" fmla="*/ 136 w 234"/>
              <a:gd name="T53" fmla="*/ 36 h 231"/>
              <a:gd name="T54" fmla="*/ 118 w 234"/>
              <a:gd name="T55" fmla="*/ 34 h 231"/>
              <a:gd name="T56" fmla="*/ 49 w 234"/>
              <a:gd name="T57" fmla="*/ 86 h 231"/>
              <a:gd name="T58" fmla="*/ 10 w 234"/>
              <a:gd name="T59" fmla="*/ 157 h 231"/>
              <a:gd name="T60" fmla="*/ 22 w 234"/>
              <a:gd name="T61" fmla="*/ 167 h 231"/>
              <a:gd name="T62" fmla="*/ 64 w 234"/>
              <a:gd name="T63" fmla="*/ 91 h 231"/>
              <a:gd name="T64" fmla="*/ 156 w 234"/>
              <a:gd name="T65" fmla="*/ 117 h 231"/>
              <a:gd name="T66" fmla="*/ 129 w 234"/>
              <a:gd name="T67" fmla="*/ 68 h 231"/>
              <a:gd name="T68" fmla="*/ 80 w 234"/>
              <a:gd name="T69" fmla="*/ 95 h 231"/>
              <a:gd name="T70" fmla="*/ 60 w 234"/>
              <a:gd name="T71" fmla="*/ 142 h 231"/>
              <a:gd name="T72" fmla="*/ 74 w 234"/>
              <a:gd name="T73" fmla="*/ 150 h 231"/>
              <a:gd name="T74" fmla="*/ 95 w 234"/>
              <a:gd name="T75" fmla="*/ 99 h 231"/>
              <a:gd name="T76" fmla="*/ 125 w 234"/>
              <a:gd name="T77" fmla="*/ 83 h 231"/>
              <a:gd name="T78" fmla="*/ 141 w 234"/>
              <a:gd name="T79" fmla="*/ 113 h 231"/>
              <a:gd name="T80" fmla="*/ 85 w 234"/>
              <a:gd name="T81" fmla="*/ 217 h 231"/>
              <a:gd name="T82" fmla="*/ 97 w 234"/>
              <a:gd name="T83" fmla="*/ 227 h 231"/>
              <a:gd name="T84" fmla="*/ 156 w 234"/>
              <a:gd name="T85" fmla="*/ 117 h 231"/>
              <a:gd name="T86" fmla="*/ 64 w 234"/>
              <a:gd name="T87" fmla="*/ 167 h 231"/>
              <a:gd name="T88" fmla="*/ 51 w 234"/>
              <a:gd name="T89" fmla="*/ 157 h 231"/>
              <a:gd name="T90" fmla="*/ 28 w 234"/>
              <a:gd name="T91" fmla="*/ 184 h 231"/>
              <a:gd name="T92" fmla="*/ 40 w 234"/>
              <a:gd name="T93" fmla="*/ 195 h 231"/>
              <a:gd name="T94" fmla="*/ 64 w 234"/>
              <a:gd name="T95" fmla="*/ 167 h 231"/>
              <a:gd name="T96" fmla="*/ 126 w 234"/>
              <a:gd name="T97" fmla="*/ 108 h 231"/>
              <a:gd name="T98" fmla="*/ 110 w 234"/>
              <a:gd name="T99" fmla="*/ 104 h 231"/>
              <a:gd name="T100" fmla="*/ 103 w 234"/>
              <a:gd name="T101" fmla="*/ 127 h 231"/>
              <a:gd name="T102" fmla="*/ 117 w 234"/>
              <a:gd name="T103" fmla="*/ 133 h 231"/>
              <a:gd name="T104" fmla="*/ 126 w 234"/>
              <a:gd name="T105" fmla="*/ 108 h 231"/>
              <a:gd name="T106" fmla="*/ 110 w 234"/>
              <a:gd name="T107" fmla="*/ 149 h 231"/>
              <a:gd name="T108" fmla="*/ 96 w 234"/>
              <a:gd name="T109" fmla="*/ 143 h 231"/>
              <a:gd name="T110" fmla="*/ 53 w 234"/>
              <a:gd name="T111" fmla="*/ 204 h 231"/>
              <a:gd name="T112" fmla="*/ 64 w 234"/>
              <a:gd name="T113" fmla="*/ 216 h 231"/>
              <a:gd name="T114" fmla="*/ 110 w 234"/>
              <a:gd name="T115" fmla="*/ 14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4" h="231">
                <a:moveTo>
                  <a:pt x="187" y="210"/>
                </a:moveTo>
                <a:cubicBezTo>
                  <a:pt x="173" y="202"/>
                  <a:pt x="173" y="202"/>
                  <a:pt x="173" y="202"/>
                </a:cubicBezTo>
                <a:cubicBezTo>
                  <a:pt x="185" y="180"/>
                  <a:pt x="195" y="156"/>
                  <a:pt x="203" y="130"/>
                </a:cubicBezTo>
                <a:cubicBezTo>
                  <a:pt x="216" y="84"/>
                  <a:pt x="189" y="35"/>
                  <a:pt x="142" y="21"/>
                </a:cubicBezTo>
                <a:cubicBezTo>
                  <a:pt x="125" y="16"/>
                  <a:pt x="106" y="17"/>
                  <a:pt x="89" y="23"/>
                </a:cubicBezTo>
                <a:cubicBezTo>
                  <a:pt x="83" y="8"/>
                  <a:pt x="83" y="8"/>
                  <a:pt x="83" y="8"/>
                </a:cubicBezTo>
                <a:cubicBezTo>
                  <a:pt x="104" y="1"/>
                  <a:pt x="126" y="0"/>
                  <a:pt x="147" y="6"/>
                </a:cubicBezTo>
                <a:cubicBezTo>
                  <a:pt x="202" y="22"/>
                  <a:pt x="234" y="79"/>
                  <a:pt x="218" y="135"/>
                </a:cubicBezTo>
                <a:cubicBezTo>
                  <a:pt x="210" y="161"/>
                  <a:pt x="200" y="187"/>
                  <a:pt x="187" y="210"/>
                </a:cubicBezTo>
                <a:close/>
                <a:moveTo>
                  <a:pt x="33" y="82"/>
                </a:moveTo>
                <a:cubicBezTo>
                  <a:pt x="40" y="60"/>
                  <a:pt x="54" y="41"/>
                  <a:pt x="74" y="30"/>
                </a:cubicBezTo>
                <a:cubicBezTo>
                  <a:pt x="66" y="16"/>
                  <a:pt x="66" y="16"/>
                  <a:pt x="66" y="16"/>
                </a:cubicBezTo>
                <a:cubicBezTo>
                  <a:pt x="42" y="30"/>
                  <a:pt x="25" y="51"/>
                  <a:pt x="18" y="77"/>
                </a:cubicBezTo>
                <a:cubicBezTo>
                  <a:pt x="14" y="92"/>
                  <a:pt x="8" y="106"/>
                  <a:pt x="0" y="118"/>
                </a:cubicBezTo>
                <a:cubicBezTo>
                  <a:pt x="14" y="126"/>
                  <a:pt x="14" y="126"/>
                  <a:pt x="14" y="126"/>
                </a:cubicBezTo>
                <a:cubicBezTo>
                  <a:pt x="22" y="113"/>
                  <a:pt x="29" y="98"/>
                  <a:pt x="33" y="82"/>
                </a:cubicBezTo>
                <a:close/>
                <a:moveTo>
                  <a:pt x="187" y="126"/>
                </a:moveTo>
                <a:cubicBezTo>
                  <a:pt x="196" y="94"/>
                  <a:pt x="183" y="60"/>
                  <a:pt x="154" y="44"/>
                </a:cubicBezTo>
                <a:cubicBezTo>
                  <a:pt x="146" y="57"/>
                  <a:pt x="146" y="57"/>
                  <a:pt x="146" y="57"/>
                </a:cubicBezTo>
                <a:cubicBezTo>
                  <a:pt x="168" y="70"/>
                  <a:pt x="179" y="97"/>
                  <a:pt x="172" y="121"/>
                </a:cubicBezTo>
                <a:cubicBezTo>
                  <a:pt x="161" y="159"/>
                  <a:pt x="145" y="192"/>
                  <a:pt x="123" y="221"/>
                </a:cubicBezTo>
                <a:cubicBezTo>
                  <a:pt x="135" y="231"/>
                  <a:pt x="135" y="231"/>
                  <a:pt x="135" y="231"/>
                </a:cubicBezTo>
                <a:cubicBezTo>
                  <a:pt x="159" y="200"/>
                  <a:pt x="176" y="165"/>
                  <a:pt x="187" y="126"/>
                </a:cubicBezTo>
                <a:close/>
                <a:moveTo>
                  <a:pt x="64" y="91"/>
                </a:moveTo>
                <a:cubicBezTo>
                  <a:pt x="71" y="67"/>
                  <a:pt x="93" y="50"/>
                  <a:pt x="118" y="50"/>
                </a:cubicBezTo>
                <a:cubicBezTo>
                  <a:pt x="123" y="50"/>
                  <a:pt x="127" y="51"/>
                  <a:pt x="132" y="52"/>
                </a:cubicBezTo>
                <a:cubicBezTo>
                  <a:pt x="136" y="36"/>
                  <a:pt x="136" y="36"/>
                  <a:pt x="136" y="36"/>
                </a:cubicBezTo>
                <a:cubicBezTo>
                  <a:pt x="130" y="35"/>
                  <a:pt x="124" y="34"/>
                  <a:pt x="118" y="34"/>
                </a:cubicBezTo>
                <a:cubicBezTo>
                  <a:pt x="86" y="34"/>
                  <a:pt x="58" y="55"/>
                  <a:pt x="49" y="86"/>
                </a:cubicBezTo>
                <a:cubicBezTo>
                  <a:pt x="41" y="114"/>
                  <a:pt x="28" y="138"/>
                  <a:pt x="10" y="157"/>
                </a:cubicBezTo>
                <a:cubicBezTo>
                  <a:pt x="22" y="167"/>
                  <a:pt x="22" y="167"/>
                  <a:pt x="22" y="167"/>
                </a:cubicBezTo>
                <a:cubicBezTo>
                  <a:pt x="41" y="147"/>
                  <a:pt x="55" y="121"/>
                  <a:pt x="64" y="91"/>
                </a:cubicBezTo>
                <a:close/>
                <a:moveTo>
                  <a:pt x="156" y="117"/>
                </a:moveTo>
                <a:cubicBezTo>
                  <a:pt x="163" y="96"/>
                  <a:pt x="150" y="74"/>
                  <a:pt x="129" y="68"/>
                </a:cubicBezTo>
                <a:cubicBezTo>
                  <a:pt x="108" y="61"/>
                  <a:pt x="86" y="74"/>
                  <a:pt x="80" y="95"/>
                </a:cubicBezTo>
                <a:cubicBezTo>
                  <a:pt x="75" y="112"/>
                  <a:pt x="68" y="128"/>
                  <a:pt x="60" y="142"/>
                </a:cubicBezTo>
                <a:cubicBezTo>
                  <a:pt x="74" y="150"/>
                  <a:pt x="74" y="150"/>
                  <a:pt x="74" y="150"/>
                </a:cubicBezTo>
                <a:cubicBezTo>
                  <a:pt x="83" y="135"/>
                  <a:pt x="90" y="118"/>
                  <a:pt x="95" y="99"/>
                </a:cubicBezTo>
                <a:cubicBezTo>
                  <a:pt x="99" y="87"/>
                  <a:pt x="112" y="79"/>
                  <a:pt x="125" y="83"/>
                </a:cubicBezTo>
                <a:cubicBezTo>
                  <a:pt x="137" y="87"/>
                  <a:pt x="145" y="100"/>
                  <a:pt x="141" y="113"/>
                </a:cubicBezTo>
                <a:cubicBezTo>
                  <a:pt x="130" y="153"/>
                  <a:pt x="111" y="188"/>
                  <a:pt x="85" y="217"/>
                </a:cubicBezTo>
                <a:cubicBezTo>
                  <a:pt x="97" y="227"/>
                  <a:pt x="97" y="227"/>
                  <a:pt x="97" y="227"/>
                </a:cubicBezTo>
                <a:cubicBezTo>
                  <a:pt x="124" y="197"/>
                  <a:pt x="144" y="159"/>
                  <a:pt x="156" y="117"/>
                </a:cubicBezTo>
                <a:close/>
                <a:moveTo>
                  <a:pt x="64" y="167"/>
                </a:moveTo>
                <a:cubicBezTo>
                  <a:pt x="51" y="157"/>
                  <a:pt x="51" y="157"/>
                  <a:pt x="51" y="157"/>
                </a:cubicBezTo>
                <a:cubicBezTo>
                  <a:pt x="44" y="167"/>
                  <a:pt x="36" y="176"/>
                  <a:pt x="28" y="184"/>
                </a:cubicBezTo>
                <a:cubicBezTo>
                  <a:pt x="40" y="195"/>
                  <a:pt x="40" y="195"/>
                  <a:pt x="40" y="195"/>
                </a:cubicBezTo>
                <a:cubicBezTo>
                  <a:pt x="48" y="187"/>
                  <a:pt x="56" y="177"/>
                  <a:pt x="64" y="167"/>
                </a:cubicBezTo>
                <a:close/>
                <a:moveTo>
                  <a:pt x="126" y="108"/>
                </a:moveTo>
                <a:cubicBezTo>
                  <a:pt x="110" y="104"/>
                  <a:pt x="110" y="104"/>
                  <a:pt x="110" y="104"/>
                </a:cubicBezTo>
                <a:cubicBezTo>
                  <a:pt x="108" y="112"/>
                  <a:pt x="105" y="119"/>
                  <a:pt x="103" y="127"/>
                </a:cubicBezTo>
                <a:cubicBezTo>
                  <a:pt x="117" y="133"/>
                  <a:pt x="117" y="133"/>
                  <a:pt x="117" y="133"/>
                </a:cubicBezTo>
                <a:cubicBezTo>
                  <a:pt x="121" y="125"/>
                  <a:pt x="123" y="117"/>
                  <a:pt x="126" y="108"/>
                </a:cubicBezTo>
                <a:close/>
                <a:moveTo>
                  <a:pt x="110" y="149"/>
                </a:moveTo>
                <a:cubicBezTo>
                  <a:pt x="96" y="143"/>
                  <a:pt x="96" y="143"/>
                  <a:pt x="96" y="143"/>
                </a:cubicBezTo>
                <a:cubicBezTo>
                  <a:pt x="85" y="166"/>
                  <a:pt x="70" y="187"/>
                  <a:pt x="53" y="204"/>
                </a:cubicBezTo>
                <a:cubicBezTo>
                  <a:pt x="64" y="216"/>
                  <a:pt x="64" y="216"/>
                  <a:pt x="64" y="216"/>
                </a:cubicBezTo>
                <a:cubicBezTo>
                  <a:pt x="83" y="197"/>
                  <a:pt x="98" y="174"/>
                  <a:pt x="110" y="1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2157AF10-AFC6-44E1-9FFF-0C358BAA3DEE}"/>
              </a:ext>
            </a:extLst>
          </p:cNvPr>
          <p:cNvSpPr/>
          <p:nvPr/>
        </p:nvSpPr>
        <p:spPr>
          <a:xfrm>
            <a:off x="6396487" y="3484754"/>
            <a:ext cx="836762" cy="300086"/>
          </a:xfrm>
          <a:custGeom>
            <a:avLst/>
            <a:gdLst>
              <a:gd name="connsiteX0" fmla="*/ 0 w 836762"/>
              <a:gd name="connsiteY0" fmla="*/ 318 h 300086"/>
              <a:gd name="connsiteX1" fmla="*/ 219973 w 836762"/>
              <a:gd name="connsiteY1" fmla="*/ 26197 h 300086"/>
              <a:gd name="connsiteX2" fmla="*/ 584439 w 836762"/>
              <a:gd name="connsiteY2" fmla="*/ 166376 h 300086"/>
              <a:gd name="connsiteX3" fmla="*/ 836762 w 836762"/>
              <a:gd name="connsiteY3" fmla="*/ 300086 h 300086"/>
            </a:gdLst>
            <a:ahLst/>
            <a:cxnLst>
              <a:cxn ang="0">
                <a:pos x="connsiteX0" y="connsiteY0"/>
              </a:cxn>
              <a:cxn ang="0">
                <a:pos x="connsiteX1" y="connsiteY1"/>
              </a:cxn>
              <a:cxn ang="0">
                <a:pos x="connsiteX2" y="connsiteY2"/>
              </a:cxn>
              <a:cxn ang="0">
                <a:pos x="connsiteX3" y="connsiteY3"/>
              </a:cxn>
            </a:cxnLst>
            <a:rect l="l" t="t" r="r" b="b"/>
            <a:pathLst>
              <a:path w="836762" h="300086">
                <a:moveTo>
                  <a:pt x="0" y="318"/>
                </a:moveTo>
                <a:cubicBezTo>
                  <a:pt x="61283" y="-581"/>
                  <a:pt x="122567" y="-1479"/>
                  <a:pt x="219973" y="26197"/>
                </a:cubicBezTo>
                <a:cubicBezTo>
                  <a:pt x="317379" y="53873"/>
                  <a:pt x="481641" y="120728"/>
                  <a:pt x="584439" y="166376"/>
                </a:cubicBezTo>
                <a:cubicBezTo>
                  <a:pt x="687237" y="212024"/>
                  <a:pt x="761999" y="256055"/>
                  <a:pt x="836762" y="300086"/>
                </a:cubicBezTo>
              </a:path>
            </a:pathLst>
          </a:custGeom>
          <a:noFill/>
          <a:ln w="2857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Shape 87">
            <a:extLst>
              <a:ext uri="{FF2B5EF4-FFF2-40B4-BE49-F238E27FC236}">
                <a16:creationId xmlns:a16="http://schemas.microsoft.com/office/drawing/2014/main" id="{D1348989-38EE-4EEB-8905-A166CC34191D}"/>
              </a:ext>
            </a:extLst>
          </p:cNvPr>
          <p:cNvSpPr/>
          <p:nvPr/>
        </p:nvSpPr>
        <p:spPr bwMode="ltGray">
          <a:xfrm flipH="1">
            <a:off x="7661311" y="3570832"/>
            <a:ext cx="500424" cy="406426"/>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FF540A"/>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600564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ck0Tg5TI066CxdZ5PCH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L9iVgLJD0e4F8nr6cJa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A6326CD3-4DCB-4A04-AF13-9CA97975E993}" vid="{CCC959B3-365A-4116-BEB6-33E12983DE0E}"/>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F80AFD8A-6115-4AAA-8149-24FE882CA06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A5F71A1-AAE1-4301-A217-E792D46E61D7}"/>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4B17655-B866-4645-8DC1-87A7E6E2B23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3811FB60C90D4999FD355DCA504A6F" ma:contentTypeVersion="4" ma:contentTypeDescription="Create a new document." ma:contentTypeScope="" ma:versionID="e755506bcc0bc3fc8395be14b723ac8b">
  <xsd:schema xmlns:xsd="http://www.w3.org/2001/XMLSchema" xmlns:xs="http://www.w3.org/2001/XMLSchema" xmlns:p="http://schemas.microsoft.com/office/2006/metadata/properties" xmlns:ns2="ebdeae63-8b5e-4412-8de6-7210d4aa148f" targetNamespace="http://schemas.microsoft.com/office/2006/metadata/properties" ma:root="true" ma:fieldsID="5680814e9f3e50d93b6089ffd3970878" ns2:_="">
    <xsd:import namespace="ebdeae63-8b5e-4412-8de6-7210d4aa14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deae63-8b5e-4412-8de6-7210d4aa14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3782EA7-7549-4CC3-AAFB-0E5193C4F2F0}">
  <ds:schemaRefs>
    <ds:schemaRef ds:uri="ebdeae63-8b5e-4412-8de6-7210d4aa14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BE7920A-FE9D-4A01-88BD-034DFE80E02A}">
  <ds:schemaRefs>
    <ds:schemaRef ds:uri="http://schemas.microsoft.com/sharepoint/v3/contenttype/forms"/>
  </ds:schemaRefs>
</ds:datastoreItem>
</file>

<file path=customXml/itemProps3.xml><?xml version="1.0" encoding="utf-8"?>
<ds:datastoreItem xmlns:ds="http://schemas.openxmlformats.org/officeDocument/2006/customXml" ds:itemID="{6E9EBDA0-68FD-4B53-9521-2B8D31FB9858}">
  <ds:schemaRefs>
    <ds:schemaRef ds:uri="ebdeae63-8b5e-4412-8de6-7210d4aa148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575</TotalTime>
  <Words>895</Words>
  <Application>Microsoft Office PowerPoint</Application>
  <PresentationFormat>Widescreen</PresentationFormat>
  <Paragraphs>182</Paragraphs>
  <Slides>10</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19" baseType="lpstr">
      <vt:lpstr>Arial</vt:lpstr>
      <vt:lpstr>Arial Black</vt:lpstr>
      <vt:lpstr>Calibri</vt:lpstr>
      <vt:lpstr>Wingdings</vt:lpstr>
      <vt:lpstr>White bkgrnd master</vt:lpstr>
      <vt:lpstr>Blue bkgrnd master</vt:lpstr>
      <vt:lpstr>White bk accent color options</vt:lpstr>
      <vt:lpstr>Blue bk accent color options</vt:lpstr>
      <vt:lpstr>think-cell Slide</vt:lpstr>
      <vt:lpstr>Massachusetts Criminal Justice Data Collection &amp; Reporting Project Health Check</vt:lpstr>
      <vt:lpstr>Gartner Engagement Background</vt:lpstr>
      <vt:lpstr>Gartner Engagement Goals</vt:lpstr>
      <vt:lpstr>Gartner Engagement Overview</vt:lpstr>
      <vt:lpstr>Key Discovery Findings and Implications Summary</vt:lpstr>
      <vt:lpstr>PowerPoint Presentation</vt:lpstr>
      <vt:lpstr>Target State Overview</vt:lpstr>
      <vt:lpstr>Delivering the CTS Requires Commonwealth to Focus FY22 on the Implementation of the Four Strategic Foundational Areas</vt:lpstr>
      <vt:lpstr>CTS Strategy Roadmap</vt:lpstr>
      <vt:lpstr>Contacts</vt:lpstr>
    </vt:vector>
  </TitlesOfParts>
  <Company>Gart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achusetts Criminal Justice Data Collection and Reporting Project Health Check</dc:title>
  <dc:creator>Anthony,Krysta</dc:creator>
  <dc:description>Template Version: 1 JANUARY 2021</dc:description>
  <cp:lastModifiedBy>Cohen,Maydad</cp:lastModifiedBy>
  <cp:revision>2</cp:revision>
  <cp:lastPrinted>2021-06-06T17:26:42Z</cp:lastPrinted>
  <dcterms:created xsi:type="dcterms:W3CDTF">2021-05-24T20:07:57Z</dcterms:created>
  <dcterms:modified xsi:type="dcterms:W3CDTF">2021-06-07T01:2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3811FB60C90D4999FD355DCA504A6F</vt:lpwstr>
  </property>
</Properties>
</file>